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26.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27.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8.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9.xml" ContentType="application/vnd.openxmlformats-officedocument.drawingml.chart+xml"/>
  <Override PartName="/ppt/charts/style5.xml" ContentType="application/vnd.ms-office.chartstyle+xml"/>
  <Override PartName="/ppt/charts/colors5.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30.xml" ContentType="application/vnd.openxmlformats-officedocument.drawingml.chart+xml"/>
  <Override PartName="/ppt/charts/style6.xml" ContentType="application/vnd.ms-office.chartstyle+xml"/>
  <Override PartName="/ppt/charts/colors6.xml" ContentType="application/vnd.ms-office.chartcolorstyle+xml"/>
  <Override PartName="/ppt/tags/tag50.xml" ContentType="application/vnd.openxmlformats-officedocument.presentationml.tags+xml"/>
  <Override PartName="/ppt/charts/chart31.xml" ContentType="application/vnd.openxmlformats-officedocument.drawingml.chart+xml"/>
  <Override PartName="/ppt/charts/style7.xml" ContentType="application/vnd.ms-office.chartstyle+xml"/>
  <Override PartName="/ppt/charts/colors7.xml" ContentType="application/vnd.ms-office.chartcolorstyle+xml"/>
  <Override PartName="/ppt/tags/tag51.xml" ContentType="application/vnd.openxmlformats-officedocument.presentationml.tags+xml"/>
  <Override PartName="/ppt/charts/chart32.xml" ContentType="application/vnd.openxmlformats-officedocument.drawingml.chart+xml"/>
  <Override PartName="/ppt/charts/style8.xml" ContentType="application/vnd.ms-office.chartstyle+xml"/>
  <Override PartName="/ppt/charts/colors8.xml" ContentType="application/vnd.ms-office.chartcolorstyle+xml"/>
  <Override PartName="/ppt/tags/tag52.xml" ContentType="application/vnd.openxmlformats-officedocument.presentationml.tags+xml"/>
  <Override PartName="/ppt/charts/chart33.xml" ContentType="application/vnd.openxmlformats-officedocument.drawingml.chart+xml"/>
  <Override PartName="/ppt/charts/style9.xml" ContentType="application/vnd.ms-office.chartstyle+xml"/>
  <Override PartName="/ppt/charts/colors9.xml" ContentType="application/vnd.ms-office.chartcolorstyle+xml"/>
  <Override PartName="/ppt/tags/tag53.xml" ContentType="application/vnd.openxmlformats-officedocument.presentationml.tags+xml"/>
  <Override PartName="/ppt/charts/chart34.xml" ContentType="application/vnd.openxmlformats-officedocument.drawingml.chart+xml"/>
  <Override PartName="/ppt/charts/style10.xml" ContentType="application/vnd.ms-office.chartstyle+xml"/>
  <Override PartName="/ppt/charts/colors10.xml" ContentType="application/vnd.ms-office.chartcolorstyle+xml"/>
  <Override PartName="/ppt/tags/tag54.xml" ContentType="application/vnd.openxmlformats-officedocument.presentationml.tags+xml"/>
  <Override PartName="/ppt/charts/chart35.xml" ContentType="application/vnd.openxmlformats-officedocument.drawingml.chart+xml"/>
  <Override PartName="/ppt/charts/style11.xml" ContentType="application/vnd.ms-office.chartstyle+xml"/>
  <Override PartName="/ppt/charts/colors11.xml" ContentType="application/vnd.ms-office.chartcolorstyle+xml"/>
  <Override PartName="/ppt/tags/tag55.xml" ContentType="application/vnd.openxmlformats-officedocument.presentationml.tags+xml"/>
  <Override PartName="/ppt/charts/chart36.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charts/chart37.xml" ContentType="application/vnd.openxmlformats-officedocument.drawingml.chart+xml"/>
  <Override PartName="/ppt/charts/style13.xml" ContentType="application/vnd.ms-office.chartstyle+xml"/>
  <Override PartName="/ppt/charts/colors13.xml" ContentType="application/vnd.ms-office.chartcolorstyle+xml"/>
  <Override PartName="/ppt/tags/tag57.xml" ContentType="application/vnd.openxmlformats-officedocument.presentationml.tags+xml"/>
  <Override PartName="/ppt/charts/chart38.xml" ContentType="application/vnd.openxmlformats-officedocument.drawingml.chart+xml"/>
  <Override PartName="/ppt/charts/style14.xml" ContentType="application/vnd.ms-office.chartstyle+xml"/>
  <Override PartName="/ppt/charts/colors14.xml" ContentType="application/vnd.ms-office.chartcolorstyle+xml"/>
  <Override PartName="/ppt/tags/tag58.xml" ContentType="application/vnd.openxmlformats-officedocument.presentationml.tags+xml"/>
  <Override PartName="/ppt/charts/chart39.xml" ContentType="application/vnd.openxmlformats-officedocument.drawingml.chart+xml"/>
  <Override PartName="/ppt/charts/style15.xml" ContentType="application/vnd.ms-office.chartstyle+xml"/>
  <Override PartName="/ppt/charts/colors15.xml" ContentType="application/vnd.ms-office.chartcolorstyle+xml"/>
  <Override PartName="/ppt/tags/tag59.xml" ContentType="application/vnd.openxmlformats-officedocument.presentationml.tags+xml"/>
  <Override PartName="/ppt/charts/chart40.xml" ContentType="application/vnd.openxmlformats-officedocument.drawingml.chart+xml"/>
  <Override PartName="/ppt/charts/style16.xml" ContentType="application/vnd.ms-office.chartstyle+xml"/>
  <Override PartName="/ppt/charts/colors16.xml" ContentType="application/vnd.ms-office.chartcolorstyle+xml"/>
  <Override PartName="/ppt/tags/tag60.xml" ContentType="application/vnd.openxmlformats-officedocument.presentationml.tags+xml"/>
  <Override PartName="/ppt/charts/chart41.xml" ContentType="application/vnd.openxmlformats-officedocument.drawingml.chart+xml"/>
  <Override PartName="/ppt/charts/style17.xml" ContentType="application/vnd.ms-office.chartstyle+xml"/>
  <Override PartName="/ppt/charts/colors17.xml" ContentType="application/vnd.ms-office.chartcolorstyle+xml"/>
  <Override PartName="/ppt/tags/tag61.xml" ContentType="application/vnd.openxmlformats-officedocument.presentationml.tags+xml"/>
  <Override PartName="/ppt/charts/chart42.xml" ContentType="application/vnd.openxmlformats-officedocument.drawingml.chart+xml"/>
  <Override PartName="/ppt/charts/style18.xml" ContentType="application/vnd.ms-office.chartstyle+xml"/>
  <Override PartName="/ppt/charts/colors18.xml" ContentType="application/vnd.ms-office.chartcolorstyle+xml"/>
  <Override PartName="/ppt/tags/tag62.xml" ContentType="application/vnd.openxmlformats-officedocument.presentationml.tags+xml"/>
  <Override PartName="/ppt/notesSlides/notesSlide23.xml" ContentType="application/vnd.openxmlformats-officedocument.presentationml.notesSlide+xml"/>
  <Override PartName="/ppt/charts/chart43.xml" ContentType="application/vnd.openxmlformats-officedocument.drawingml.chart+xml"/>
  <Override PartName="/ppt/tags/tag63.xml" ContentType="application/vnd.openxmlformats-officedocument.presentationml.tags+xml"/>
  <Override PartName="/ppt/notesSlides/notesSlide24.xml" ContentType="application/vnd.openxmlformats-officedocument.presentationml.notesSlide+xml"/>
  <Override PartName="/ppt/charts/chart44.xml" ContentType="application/vnd.openxmlformats-officedocument.drawingml.chart+xml"/>
  <Override PartName="/ppt/tags/tag64.xml" ContentType="application/vnd.openxmlformats-officedocument.presentationml.tags+xml"/>
  <Override PartName="/ppt/notesSlides/notesSlide25.xml" ContentType="application/vnd.openxmlformats-officedocument.presentationml.notesSlide+xml"/>
  <Override PartName="/ppt/charts/chart45.xml" ContentType="application/vnd.openxmlformats-officedocument.drawingml.chart+xml"/>
  <Override PartName="/ppt/tags/tag65.xml" ContentType="application/vnd.openxmlformats-officedocument.presentationml.tags+xml"/>
  <Override PartName="/ppt/notesSlides/notesSlide26.xml" ContentType="application/vnd.openxmlformats-officedocument.presentationml.notesSlide+xml"/>
  <Override PartName="/ppt/charts/chart46.xml" ContentType="application/vnd.openxmlformats-officedocument.drawingml.chart+xml"/>
  <Override PartName="/ppt/tags/tag66.xml" ContentType="application/vnd.openxmlformats-officedocument.presentationml.tags+xml"/>
  <Override PartName="/ppt/notesSlides/notesSlide27.xml" ContentType="application/vnd.openxmlformats-officedocument.presentationml.notesSlide+xml"/>
  <Override PartName="/ppt/charts/chart47.xml" ContentType="application/vnd.openxmlformats-officedocument.drawingml.chart+xml"/>
  <Override PartName="/ppt/tags/tag67.xml" ContentType="application/vnd.openxmlformats-officedocument.presentationml.tags+xml"/>
  <Override PartName="/ppt/notesSlides/notesSlide28.xml" ContentType="application/vnd.openxmlformats-officedocument.presentationml.notesSlide+xml"/>
  <Override PartName="/ppt/charts/chart48.xml" ContentType="application/vnd.openxmlformats-officedocument.drawingml.chart+xml"/>
  <Override PartName="/ppt/tags/tag68.xml" ContentType="application/vnd.openxmlformats-officedocument.presentationml.tags+xml"/>
  <Override PartName="/ppt/notesSlides/notesSlide29.xml" ContentType="application/vnd.openxmlformats-officedocument.presentationml.notesSlide+xml"/>
  <Override PartName="/ppt/charts/chart49.xml" ContentType="application/vnd.openxmlformats-officedocument.drawingml.chart+xml"/>
  <Override PartName="/ppt/tags/tag69.xml" ContentType="application/vnd.openxmlformats-officedocument.presentationml.tags+xml"/>
  <Override PartName="/ppt/notesSlides/notesSlide30.xml" ContentType="application/vnd.openxmlformats-officedocument.presentationml.notesSlide+xml"/>
  <Override PartName="/ppt/charts/chart50.xml" ContentType="application/vnd.openxmlformats-officedocument.drawingml.chart+xml"/>
  <Override PartName="/ppt/tags/tag70.xml" ContentType="application/vnd.openxmlformats-officedocument.presentationml.tags+xml"/>
  <Override PartName="/ppt/notesSlides/notesSlide31.xml" ContentType="application/vnd.openxmlformats-officedocument.presentationml.notesSlide+xml"/>
  <Override PartName="/ppt/charts/chart51.xml" ContentType="application/vnd.openxmlformats-officedocument.drawingml.chart+xml"/>
  <Override PartName="/ppt/tags/tag71.xml" ContentType="application/vnd.openxmlformats-officedocument.presentationml.tags+xml"/>
  <Override PartName="/ppt/notesSlides/notesSlide32.xml" ContentType="application/vnd.openxmlformats-officedocument.presentationml.notesSlide+xml"/>
  <Override PartName="/ppt/charts/chart52.xml" ContentType="application/vnd.openxmlformats-officedocument.drawingml.chart+xml"/>
  <Override PartName="/ppt/tags/tag72.xml" ContentType="application/vnd.openxmlformats-officedocument.presentationml.tags+xml"/>
  <Override PartName="/ppt/notesSlides/notesSlide33.xml" ContentType="application/vnd.openxmlformats-officedocument.presentationml.notesSlide+xml"/>
  <Override PartName="/ppt/charts/chart53.xml" ContentType="application/vnd.openxmlformats-officedocument.drawingml.chart+xml"/>
  <Override PartName="/ppt/tags/tag73.xml" ContentType="application/vnd.openxmlformats-officedocument.presentationml.tags+xml"/>
  <Override PartName="/ppt/notesSlides/notesSlide34.xml" ContentType="application/vnd.openxmlformats-officedocument.presentationml.notesSlide+xml"/>
  <Override PartName="/ppt/charts/chart54.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35.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109.xml" ContentType="application/vnd.openxmlformats-officedocument.presentationml.tags+xml"/>
  <Override PartName="/ppt/notesSlides/notesSlide36.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110.xml" ContentType="application/vnd.openxmlformats-officedocument.presentationml.tags+xml"/>
  <Override PartName="/ppt/notesSlides/notesSlide37.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111.xml" ContentType="application/vnd.openxmlformats-officedocument.presentationml.tags+xml"/>
  <Override PartName="/ppt/notesSlides/notesSlide38.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112.xml" ContentType="application/vnd.openxmlformats-officedocument.presentationml.tags+xml"/>
  <Override PartName="/ppt/notesSlides/notesSlide39.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113.xml" ContentType="application/vnd.openxmlformats-officedocument.presentationml.tags+xml"/>
  <Override PartName="/ppt/notesSlides/notesSlide40.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114.xml" ContentType="application/vnd.openxmlformats-officedocument.presentationml.tags+xml"/>
  <Override PartName="/ppt/notesSlides/notesSlide41.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115.xml" ContentType="application/vnd.openxmlformats-officedocument.presentationml.tags+xml"/>
  <Override PartName="/ppt/notesSlides/notesSlide42.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tags/tag116.xml" ContentType="application/vnd.openxmlformats-officedocument.presentationml.tags+xml"/>
  <Override PartName="/ppt/notesSlides/notesSlide43.xml" ContentType="application/vnd.openxmlformats-officedocument.presentationml.notesSlide+xml"/>
  <Override PartName="/ppt/charts/chart71.xml" ContentType="application/vnd.openxmlformats-officedocument.drawingml.chart+xml"/>
  <Override PartName="/ppt/charts/chart72.xml" ContentType="application/vnd.openxmlformats-officedocument.drawingml.chart+xml"/>
  <Override PartName="/ppt/tags/tag117.xml" ContentType="application/vnd.openxmlformats-officedocument.presentationml.tags+xml"/>
  <Override PartName="/ppt/notesSlides/notesSlide44.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118.xml" ContentType="application/vnd.openxmlformats-officedocument.presentationml.tags+xml"/>
  <Override PartName="/ppt/notesSlides/notesSlide45.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tags/tag119.xml" ContentType="application/vnd.openxmlformats-officedocument.presentationml.tags+xml"/>
  <Override PartName="/ppt/notesSlides/notesSlide46.xml" ContentType="application/vnd.openxmlformats-officedocument.presentationml.notesSlide+xml"/>
  <Override PartName="/ppt/charts/chart77.xml" ContentType="application/vnd.openxmlformats-officedocument.drawingml.chart+xml"/>
  <Override PartName="/ppt/charts/chart78.xml" ContentType="application/vnd.openxmlformats-officedocument.drawingml.chart+xml"/>
  <Override PartName="/ppt/tags/tag120.xml" ContentType="application/vnd.openxmlformats-officedocument.presentationml.tags+xml"/>
  <Override PartName="/ppt/notesSlides/notesSlide4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121.xml" ContentType="application/vnd.openxmlformats-officedocument.presentationml.tags+xml"/>
  <Override PartName="/ppt/notesSlides/notesSlide4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122.xml" ContentType="application/vnd.openxmlformats-officedocument.presentationml.tags+xml"/>
  <Override PartName="/ppt/notesSlides/notesSlide49.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123.xml" ContentType="application/vnd.openxmlformats-officedocument.presentationml.tags+xml"/>
  <Override PartName="/ppt/notesSlides/notesSlide50.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124.xml" ContentType="application/vnd.openxmlformats-officedocument.presentationml.tags+xml"/>
  <Override PartName="/ppt/notesSlides/notesSlide51.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tags/tag125.xml" ContentType="application/vnd.openxmlformats-officedocument.presentationml.tags+xml"/>
  <Override PartName="/ppt/notesSlides/notesSlide5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126.xml" ContentType="application/vnd.openxmlformats-officedocument.presentationml.tags+xml"/>
  <Override PartName="/ppt/notesSlides/notesSlide53.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127.xml" ContentType="application/vnd.openxmlformats-officedocument.presentationml.tags+xml"/>
  <Override PartName="/ppt/notesSlides/notesSlide54.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tags/tag128.xml" ContentType="application/vnd.openxmlformats-officedocument.presentationml.tags+xml"/>
  <Override PartName="/ppt/notesSlides/notesSlide55.xml" ContentType="application/vnd.openxmlformats-officedocument.presentationml.notesSlide+xml"/>
  <Override PartName="/ppt/charts/chart95.xml" ContentType="application/vnd.openxmlformats-officedocument.drawingml.chart+xml"/>
  <Override PartName="/ppt/charts/chart96.xml" ContentType="application/vnd.openxmlformats-officedocument.drawingml.chart+xml"/>
  <Override PartName="/ppt/tags/tag129.xml" ContentType="application/vnd.openxmlformats-officedocument.presentationml.tags+xml"/>
  <Override PartName="/ppt/charts/chart97.xml" ContentType="application/vnd.openxmlformats-officedocument.drawingml.chart+xml"/>
  <Override PartName="/ppt/tags/tag130.xml" ContentType="application/vnd.openxmlformats-officedocument.presentationml.tags+xml"/>
  <Override PartName="/ppt/charts/chart98.xml" ContentType="application/vnd.openxmlformats-officedocument.drawingml.chart+xml"/>
  <Override PartName="/ppt/tags/tag131.xml" ContentType="application/vnd.openxmlformats-officedocument.presentationml.tags+xml"/>
  <Override PartName="/ppt/charts/chart99.xml" ContentType="application/vnd.openxmlformats-officedocument.drawingml.chart+xml"/>
  <Override PartName="/ppt/tags/tag132.xml" ContentType="application/vnd.openxmlformats-officedocument.presentationml.tags+xml"/>
  <Override PartName="/ppt/charts/chart100.xml" ContentType="application/vnd.openxmlformats-officedocument.drawingml.chart+xml"/>
  <Override PartName="/ppt/tags/tag133.xml" ContentType="application/vnd.openxmlformats-officedocument.presentationml.tags+xml"/>
  <Override PartName="/ppt/charts/chart101.xml" ContentType="application/vnd.openxmlformats-officedocument.drawingml.chart+xml"/>
  <Override PartName="/ppt/tags/tag134.xml" ContentType="application/vnd.openxmlformats-officedocument.presentationml.tags+xml"/>
  <Override PartName="/ppt/charts/chart102.xml" ContentType="application/vnd.openxmlformats-officedocument.drawingml.chart+xml"/>
  <Override PartName="/ppt/tags/tag135.xml" ContentType="application/vnd.openxmlformats-officedocument.presentationml.tags+xml"/>
  <Override PartName="/ppt/charts/chart103.xml" ContentType="application/vnd.openxmlformats-officedocument.drawingml.chart+xml"/>
  <Override PartName="/ppt/tags/tag136.xml" ContentType="application/vnd.openxmlformats-officedocument.presentationml.tags+xml"/>
  <Override PartName="/ppt/charts/chart104.xml" ContentType="application/vnd.openxmlformats-officedocument.drawingml.chart+xml"/>
  <Override PartName="/ppt/tags/tag137.xml" ContentType="application/vnd.openxmlformats-officedocument.presentationml.tags+xml"/>
  <Override PartName="/ppt/charts/chart105.xml" ContentType="application/vnd.openxmlformats-officedocument.drawingml.chart+xml"/>
  <Override PartName="/ppt/tags/tag138.xml" ContentType="application/vnd.openxmlformats-officedocument.presentationml.tags+xml"/>
  <Override PartName="/ppt/charts/chart106.xml" ContentType="application/vnd.openxmlformats-officedocument.drawingml.chart+xml"/>
  <Override PartName="/ppt/tags/tag139.xml" ContentType="application/vnd.openxmlformats-officedocument.presentationml.tags+xml"/>
  <Override PartName="/ppt/charts/chart107.xml" ContentType="application/vnd.openxmlformats-officedocument.drawingml.chart+xml"/>
  <Override PartName="/ppt/tags/tag140.xml" ContentType="application/vnd.openxmlformats-officedocument.presentationml.tags+xml"/>
  <Override PartName="/ppt/charts/chart108.xml" ContentType="application/vnd.openxmlformats-officedocument.drawingml.chart+xml"/>
  <Override PartName="/ppt/tags/tag141.xml" ContentType="application/vnd.openxmlformats-officedocument.presentationml.tags+xml"/>
  <Override PartName="/ppt/notesSlides/notesSlide56.xml" ContentType="application/vnd.openxmlformats-officedocument.presentationml.notesSlid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tags/tag142.xml" ContentType="application/vnd.openxmlformats-officedocument.presentationml.tags+xml"/>
  <Override PartName="/ppt/notesSlides/notesSlide57.xml" ContentType="application/vnd.openxmlformats-officedocument.presentationml.notesSlide+xml"/>
  <Override PartName="/ppt/charts/chart110.xml" ContentType="application/vnd.openxmlformats-officedocument.drawingml.chart+xml"/>
  <Override PartName="/ppt/charts/style20.xml" ContentType="application/vnd.ms-office.chartstyle+xml"/>
  <Override PartName="/ppt/charts/colors20.xml" ContentType="application/vnd.ms-office.chartcolorstyle+xml"/>
  <Override PartName="/ppt/tags/tag143.xml" ContentType="application/vnd.openxmlformats-officedocument.presentationml.tags+xml"/>
  <Override PartName="/ppt/notesSlides/notesSlide58.xml" ContentType="application/vnd.openxmlformats-officedocument.presentationml.notesSlide+xml"/>
  <Override PartName="/ppt/charts/chart111.xml" ContentType="application/vnd.openxmlformats-officedocument.drawingml.chart+xml"/>
  <Override PartName="/ppt/charts/style21.xml" ContentType="application/vnd.ms-office.chartstyle+xml"/>
  <Override PartName="/ppt/charts/colors21.xml" ContentType="application/vnd.ms-office.chartcolorstyle+xml"/>
  <Override PartName="/ppt/tags/tag144.xml" ContentType="application/vnd.openxmlformats-officedocument.presentationml.tags+xml"/>
  <Override PartName="/ppt/notesSlides/notesSlide59.xml" ContentType="application/vnd.openxmlformats-officedocument.presentationml.notesSlide+xml"/>
  <Override PartName="/ppt/charts/chart112.xml" ContentType="application/vnd.openxmlformats-officedocument.drawingml.chart+xml"/>
  <Override PartName="/ppt/charts/style22.xml" ContentType="application/vnd.ms-office.chartstyle+xml"/>
  <Override PartName="/ppt/charts/colors22.xml" ContentType="application/vnd.ms-office.chartcolorstyle+xml"/>
  <Override PartName="/ppt/tags/tag145.xml" ContentType="application/vnd.openxmlformats-officedocument.presentationml.tags+xml"/>
  <Override PartName="/ppt/notesSlides/notesSlide60.xml" ContentType="application/vnd.openxmlformats-officedocument.presentationml.notesSlide+xml"/>
  <Override PartName="/ppt/charts/chart113.xml" ContentType="application/vnd.openxmlformats-officedocument.drawingml.chart+xml"/>
  <Override PartName="/ppt/charts/style23.xml" ContentType="application/vnd.ms-office.chartstyle+xml"/>
  <Override PartName="/ppt/charts/colors23.xml" ContentType="application/vnd.ms-office.chartcolorstyle+xml"/>
  <Override PartName="/ppt/tags/tag146.xml" ContentType="application/vnd.openxmlformats-officedocument.presentationml.tags+xml"/>
  <Override PartName="/ppt/notesSlides/notesSlide61.xml" ContentType="application/vnd.openxmlformats-officedocument.presentationml.notesSlide+xml"/>
  <Override PartName="/ppt/charts/chart114.xml" ContentType="application/vnd.openxmlformats-officedocument.drawingml.chart+xml"/>
  <Override PartName="/ppt/charts/style24.xml" ContentType="application/vnd.ms-office.chartstyle+xml"/>
  <Override PartName="/ppt/charts/colors24.xml" ContentType="application/vnd.ms-office.chartcolorstyle+xml"/>
  <Override PartName="/ppt/tags/tag147.xml" ContentType="application/vnd.openxmlformats-officedocument.presentationml.tags+xml"/>
  <Override PartName="/ppt/notesSlides/notesSlide62.xml" ContentType="application/vnd.openxmlformats-officedocument.presentationml.notesSlide+xml"/>
  <Override PartName="/ppt/charts/chart115.xml" ContentType="application/vnd.openxmlformats-officedocument.drawingml.chart+xml"/>
  <Override PartName="/ppt/charts/style25.xml" ContentType="application/vnd.ms-office.chartstyle+xml"/>
  <Override PartName="/ppt/charts/colors25.xml" ContentType="application/vnd.ms-office.chartcolorstyle+xml"/>
  <Override PartName="/ppt/tags/tag148.xml" ContentType="application/vnd.openxmlformats-officedocument.presentationml.tags+xml"/>
  <Override PartName="/ppt/notesSlides/notesSlide63.xml" ContentType="application/vnd.openxmlformats-officedocument.presentationml.notesSlide+xml"/>
  <Override PartName="/ppt/charts/chart116.xml" ContentType="application/vnd.openxmlformats-officedocument.drawingml.chart+xml"/>
  <Override PartName="/ppt/charts/style26.xml" ContentType="application/vnd.ms-office.chartstyle+xml"/>
  <Override PartName="/ppt/charts/colors26.xml" ContentType="application/vnd.ms-office.chartcolorstyle+xml"/>
  <Override PartName="/ppt/tags/tag149.xml" ContentType="application/vnd.openxmlformats-officedocument.presentationml.tags+xml"/>
  <Override PartName="/ppt/notesSlides/notesSlide64.xml" ContentType="application/vnd.openxmlformats-officedocument.presentationml.notesSlide+xml"/>
  <Override PartName="/ppt/charts/chart117.xml" ContentType="application/vnd.openxmlformats-officedocument.drawingml.chart+xml"/>
  <Override PartName="/ppt/charts/style27.xml" ContentType="application/vnd.ms-office.chartstyle+xml"/>
  <Override PartName="/ppt/charts/colors27.xml" ContentType="application/vnd.ms-office.chartcolorstyle+xml"/>
  <Override PartName="/ppt/tags/tag150.xml" ContentType="application/vnd.openxmlformats-officedocument.presentationml.tags+xml"/>
  <Override PartName="/ppt/notesSlides/notesSlide65.xml" ContentType="application/vnd.openxmlformats-officedocument.presentationml.notesSlide+xml"/>
  <Override PartName="/ppt/charts/chart118.xml" ContentType="application/vnd.openxmlformats-officedocument.drawingml.chart+xml"/>
  <Override PartName="/ppt/charts/style28.xml" ContentType="application/vnd.ms-office.chartstyle+xml"/>
  <Override PartName="/ppt/charts/colors28.xml" ContentType="application/vnd.ms-office.chartcolorstyle+xml"/>
  <Override PartName="/ppt/tags/tag151.xml" ContentType="application/vnd.openxmlformats-officedocument.presentationml.tags+xml"/>
  <Override PartName="/ppt/notesSlides/notesSlide66.xml" ContentType="application/vnd.openxmlformats-officedocument.presentationml.notesSlide+xml"/>
  <Override PartName="/ppt/charts/chart119.xml" ContentType="application/vnd.openxmlformats-officedocument.drawingml.chart+xml"/>
  <Override PartName="/ppt/charts/style29.xml" ContentType="application/vnd.ms-office.chartstyle+xml"/>
  <Override PartName="/ppt/charts/colors29.xml" ContentType="application/vnd.ms-office.chartcolorstyle+xml"/>
  <Override PartName="/ppt/tags/tag152.xml" ContentType="application/vnd.openxmlformats-officedocument.presentationml.tags+xml"/>
  <Override PartName="/ppt/notesSlides/notesSlide67.xml" ContentType="application/vnd.openxmlformats-officedocument.presentationml.notesSlide+xml"/>
  <Override PartName="/ppt/charts/chart120.xml" ContentType="application/vnd.openxmlformats-officedocument.drawingml.chart+xml"/>
  <Override PartName="/ppt/charts/style30.xml" ContentType="application/vnd.ms-office.chartstyle+xml"/>
  <Override PartName="/ppt/charts/colors30.xml" ContentType="application/vnd.ms-office.chartcolorstyle+xml"/>
  <Override PartName="/ppt/tags/tag153.xml" ContentType="application/vnd.openxmlformats-officedocument.presentationml.tags+xml"/>
  <Override PartName="/ppt/notesSlides/notesSlide68.xml" ContentType="application/vnd.openxmlformats-officedocument.presentationml.notesSlide+xml"/>
  <Override PartName="/ppt/charts/chart121.xml" ContentType="application/vnd.openxmlformats-officedocument.drawingml.chart+xml"/>
  <Override PartName="/ppt/charts/style31.xml" ContentType="application/vnd.ms-office.chartstyle+xml"/>
  <Override PartName="/ppt/charts/colors31.xml" ContentType="application/vnd.ms-office.chartcolorstyle+xml"/>
  <Override PartName="/ppt/tags/tag154.xml" ContentType="application/vnd.openxmlformats-officedocument.presentationml.tags+xml"/>
  <Override PartName="/ppt/notesSlides/notesSlide69.xml" ContentType="application/vnd.openxmlformats-officedocument.presentationml.notesSlide+xml"/>
  <Override PartName="/ppt/charts/chart122.xml" ContentType="application/vnd.openxmlformats-officedocument.drawingml.chart+xml"/>
  <Override PartName="/ppt/charts/style32.xml" ContentType="application/vnd.ms-office.chartstyle+xml"/>
  <Override PartName="/ppt/charts/colors32.xml" ContentType="application/vnd.ms-office.chartcolorstyle+xml"/>
  <Override PartName="/ppt/tags/tag155.xml" ContentType="application/vnd.openxmlformats-officedocument.presentationml.tags+xml"/>
  <Override PartName="/ppt/notesSlides/notesSlide70.xml" ContentType="application/vnd.openxmlformats-officedocument.presentationml.notesSlide+xml"/>
  <Override PartName="/ppt/charts/chart123.xml" ContentType="application/vnd.openxmlformats-officedocument.drawingml.chart+xml"/>
  <Override PartName="/ppt/charts/style33.xml" ContentType="application/vnd.ms-office.chartstyle+xml"/>
  <Override PartName="/ppt/charts/colors33.xml" ContentType="application/vnd.ms-office.chartcolorstyle+xml"/>
  <Override PartName="/ppt/tags/tag156.xml" ContentType="application/vnd.openxmlformats-officedocument.presentationml.tags+xml"/>
  <Override PartName="/ppt/notesSlides/notesSlide71.xml" ContentType="application/vnd.openxmlformats-officedocument.presentationml.notesSlide+xml"/>
  <Override PartName="/ppt/charts/chart124.xml" ContentType="application/vnd.openxmlformats-officedocument.drawingml.chart+xml"/>
  <Override PartName="/ppt/charts/style34.xml" ContentType="application/vnd.ms-office.chartstyle+xml"/>
  <Override PartName="/ppt/charts/colors34.xml" ContentType="application/vnd.ms-office.chartcolorstyle+xml"/>
  <Override PartName="/ppt/tags/tag157.xml" ContentType="application/vnd.openxmlformats-officedocument.presentationml.tags+xml"/>
  <Override PartName="/ppt/notesSlides/notesSlide72.xml" ContentType="application/vnd.openxmlformats-officedocument.presentationml.notesSlide+xml"/>
  <Override PartName="/ppt/charts/chart125.xml" ContentType="application/vnd.openxmlformats-officedocument.drawingml.chart+xml"/>
  <Override PartName="/ppt/charts/style35.xml" ContentType="application/vnd.ms-office.chartstyle+xml"/>
  <Override PartName="/ppt/charts/colors35.xml" ContentType="application/vnd.ms-office.chartcolorstyle+xml"/>
  <Override PartName="/ppt/tags/tag158.xml" ContentType="application/vnd.openxmlformats-officedocument.presentationml.tags+xml"/>
  <Override PartName="/ppt/charts/chart126.xml" ContentType="application/vnd.openxmlformats-officedocument.drawingml.chart+xml"/>
  <Override PartName="/ppt/tags/tag159.xml" ContentType="application/vnd.openxmlformats-officedocument.presentationml.tags+xml"/>
  <Override PartName="/ppt/charts/chart127.xml" ContentType="application/vnd.openxmlformats-officedocument.drawingml.chart+xml"/>
  <Override PartName="/ppt/tags/tag160.xml" ContentType="application/vnd.openxmlformats-officedocument.presentationml.tags+xml"/>
  <Override PartName="/ppt/charts/chart128.xml" ContentType="application/vnd.openxmlformats-officedocument.drawingml.chart+xml"/>
  <Override PartName="/ppt/tags/tag161.xml" ContentType="application/vnd.openxmlformats-officedocument.presentationml.tags+xml"/>
  <Override PartName="/ppt/charts/chart129.xml" ContentType="application/vnd.openxmlformats-officedocument.drawingml.chart+xml"/>
  <Override PartName="/ppt/tags/tag162.xml" ContentType="application/vnd.openxmlformats-officedocument.presentationml.tags+xml"/>
  <Override PartName="/ppt/charts/chart130.xml" ContentType="application/vnd.openxmlformats-officedocument.drawingml.chart+xml"/>
  <Override PartName="/ppt/tags/tag163.xml" ContentType="application/vnd.openxmlformats-officedocument.presentationml.tags+xml"/>
  <Override PartName="/ppt/charts/chart131.xml" ContentType="application/vnd.openxmlformats-officedocument.drawingml.chart+xml"/>
  <Override PartName="/ppt/tags/tag164.xml" ContentType="application/vnd.openxmlformats-officedocument.presentationml.tags+xml"/>
  <Override PartName="/ppt/charts/chart132.xml" ContentType="application/vnd.openxmlformats-officedocument.drawingml.chart+xml"/>
  <Override PartName="/ppt/tags/tag165.xml" ContentType="application/vnd.openxmlformats-officedocument.presentationml.tags+xml"/>
  <Override PartName="/ppt/charts/chart133.xml" ContentType="application/vnd.openxmlformats-officedocument.drawingml.chart+xml"/>
  <Override PartName="/ppt/tags/tag166.xml" ContentType="application/vnd.openxmlformats-officedocument.presentationml.tags+xml"/>
  <Override PartName="/ppt/charts/chart134.xml" ContentType="application/vnd.openxmlformats-officedocument.drawingml.chart+xml"/>
  <Override PartName="/ppt/tags/tag167.xml" ContentType="application/vnd.openxmlformats-officedocument.presentationml.tags+xml"/>
  <Override PartName="/ppt/charts/chart135.xml" ContentType="application/vnd.openxmlformats-officedocument.drawingml.chart+xml"/>
  <Override PartName="/ppt/tags/tag168.xml" ContentType="application/vnd.openxmlformats-officedocument.presentationml.tags+xml"/>
  <Override PartName="/ppt/charts/chart136.xml" ContentType="application/vnd.openxmlformats-officedocument.drawingml.chart+xml"/>
  <Override PartName="/ppt/tags/tag169.xml" ContentType="application/vnd.openxmlformats-officedocument.presentationml.tags+xml"/>
  <Override PartName="/ppt/charts/chart137.xml" ContentType="application/vnd.openxmlformats-officedocument.drawingml.chart+xml"/>
  <Override PartName="/ppt/tags/tag170.xml" ContentType="application/vnd.openxmlformats-officedocument.presentationml.tags+xml"/>
  <Override PartName="/ppt/charts/chart138.xml" ContentType="application/vnd.openxmlformats-officedocument.drawingml.chart+xml"/>
  <Override PartName="/ppt/tags/tag171.xml" ContentType="application/vnd.openxmlformats-officedocument.presentationml.tags+xml"/>
  <Override PartName="/ppt/charts/chart139.xml" ContentType="application/vnd.openxmlformats-officedocument.drawingml.chart+xml"/>
  <Override PartName="/ppt/tags/tag172.xml" ContentType="application/vnd.openxmlformats-officedocument.presentationml.tags+xml"/>
  <Override PartName="/ppt/charts/chart140.xml" ContentType="application/vnd.openxmlformats-officedocument.drawingml.chart+xml"/>
  <Override PartName="/ppt/tags/tag173.xml" ContentType="application/vnd.openxmlformats-officedocument.presentationml.tags+xml"/>
  <Override PartName="/ppt/charts/chart141.xml" ContentType="application/vnd.openxmlformats-officedocument.drawingml.chart+xml"/>
  <Override PartName="/ppt/tags/tag174.xml" ContentType="application/vnd.openxmlformats-officedocument.presentationml.tags+xml"/>
  <Override PartName="/ppt/charts/chart142.xml" ContentType="application/vnd.openxmlformats-officedocument.drawingml.chart+xml"/>
  <Override PartName="/ppt/tags/tag175.xml" ContentType="application/vnd.openxmlformats-officedocument.presentationml.tags+xml"/>
  <Override PartName="/ppt/charts/chart143.xml" ContentType="application/vnd.openxmlformats-officedocument.drawingml.chart+xml"/>
  <Override PartName="/ppt/tags/tag176.xml" ContentType="application/vnd.openxmlformats-officedocument.presentationml.tags+xml"/>
  <Override PartName="/ppt/charts/chart144.xml" ContentType="application/vnd.openxmlformats-officedocument.drawingml.chart+xml"/>
  <Override PartName="/ppt/tags/tag177.xml" ContentType="application/vnd.openxmlformats-officedocument.presentationml.tags+xml"/>
  <Override PartName="/ppt/charts/chart145.xml" ContentType="application/vnd.openxmlformats-officedocument.drawingml.chart+xml"/>
  <Override PartName="/ppt/tags/tag178.xml" ContentType="application/vnd.openxmlformats-officedocument.presentationml.tags+xml"/>
  <Override PartName="/ppt/charts/chart146.xml" ContentType="application/vnd.openxmlformats-officedocument.drawingml.chart+xml"/>
  <Override PartName="/ppt/tags/tag179.xml" ContentType="application/vnd.openxmlformats-officedocument.presentationml.tags+xml"/>
  <Override PartName="/ppt/charts/chart147.xml" ContentType="application/vnd.openxmlformats-officedocument.drawingml.chart+xml"/>
  <Override PartName="/ppt/tags/tag180.xml" ContentType="application/vnd.openxmlformats-officedocument.presentationml.tags+xml"/>
  <Override PartName="/ppt/charts/chart148.xml" ContentType="application/vnd.openxmlformats-officedocument.drawingml.chart+xml"/>
  <Override PartName="/ppt/tags/tag181.xml" ContentType="application/vnd.openxmlformats-officedocument.presentationml.tags+xml"/>
  <Override PartName="/ppt/charts/chart149.xml" ContentType="application/vnd.openxmlformats-officedocument.drawingml.chart+xml"/>
  <Override PartName="/ppt/tags/tag182.xml" ContentType="application/vnd.openxmlformats-officedocument.presentationml.tags+xml"/>
  <Override PartName="/ppt/charts/chart150.xml" ContentType="application/vnd.openxmlformats-officedocument.drawingml.chart+xml"/>
  <Override PartName="/ppt/tags/tag183.xml" ContentType="application/vnd.openxmlformats-officedocument.presentationml.tags+xml"/>
  <Override PartName="/ppt/charts/chart151.xml" ContentType="application/vnd.openxmlformats-officedocument.drawingml.chart+xml"/>
  <Override PartName="/ppt/tags/tag184.xml" ContentType="application/vnd.openxmlformats-officedocument.presentationml.tags+xml"/>
  <Override PartName="/ppt/charts/chart152.xml" ContentType="application/vnd.openxmlformats-officedocument.drawingml.chart+xml"/>
  <Override PartName="/ppt/tags/tag185.xml" ContentType="application/vnd.openxmlformats-officedocument.presentationml.tags+xml"/>
  <Override PartName="/ppt/charts/chart153.xml" ContentType="application/vnd.openxmlformats-officedocument.drawingml.chart+xml"/>
  <Override PartName="/ppt/tags/tag186.xml" ContentType="application/vnd.openxmlformats-officedocument.presentationml.tags+xml"/>
  <Override PartName="/ppt/charts/chart154.xml" ContentType="application/vnd.openxmlformats-officedocument.drawingml.chart+xml"/>
  <Override PartName="/ppt/tags/tag187.xml" ContentType="application/vnd.openxmlformats-officedocument.presentationml.tags+xml"/>
  <Override PartName="/ppt/charts/chart155.xml" ContentType="application/vnd.openxmlformats-officedocument.drawingml.chart+xml"/>
  <Override PartName="/ppt/tags/tag188.xml" ContentType="application/vnd.openxmlformats-officedocument.presentationml.tags+xml"/>
  <Override PartName="/ppt/charts/chart156.xml" ContentType="application/vnd.openxmlformats-officedocument.drawingml.chart+xml"/>
  <Override PartName="/ppt/tags/tag189.xml" ContentType="application/vnd.openxmlformats-officedocument.presentationml.tags+xml"/>
  <Override PartName="/ppt/charts/chart157.xml" ContentType="application/vnd.openxmlformats-officedocument.drawingml.chart+xml"/>
  <Override PartName="/ppt/tags/tag190.xml" ContentType="application/vnd.openxmlformats-officedocument.presentationml.tags+xml"/>
  <Override PartName="/ppt/charts/chart158.xml" ContentType="application/vnd.openxmlformats-officedocument.drawingml.chart+xml"/>
  <Override PartName="/ppt/tags/tag191.xml" ContentType="application/vnd.openxmlformats-officedocument.presentationml.tags+xml"/>
  <Override PartName="/ppt/charts/chart159.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160.xml" ContentType="application/vnd.openxmlformats-officedocument.drawingml.chart+xml"/>
  <Override PartName="/ppt/charts/style37.xml" ContentType="application/vnd.ms-office.chartstyle+xml"/>
  <Override PartName="/ppt/charts/colors37.xml" ContentType="application/vnd.ms-office.chartcolorstyle+xml"/>
  <Override PartName="/ppt/tags/tag192.xml" ContentType="application/vnd.openxmlformats-officedocument.presentationml.tags+xml"/>
  <Override PartName="/ppt/charts/chart161.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162.xml" ContentType="application/vnd.openxmlformats-officedocument.drawingml.chart+xml"/>
  <Override PartName="/ppt/charts/style39.xml" ContentType="application/vnd.ms-office.chartstyle+xml"/>
  <Override PartName="/ppt/charts/colors39.xml" ContentType="application/vnd.ms-office.chartcolorstyle+xml"/>
  <Override PartName="/ppt/tags/tag193.xml" ContentType="application/vnd.openxmlformats-officedocument.presentationml.tags+xml"/>
  <Override PartName="/ppt/charts/chart163.xml" ContentType="application/vnd.openxmlformats-officedocument.drawingml.chart+xml"/>
  <Override PartName="/ppt/tags/tag194.xml" ContentType="application/vnd.openxmlformats-officedocument.presentationml.tags+xml"/>
  <Override PartName="/ppt/charts/chart164.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165.xml" ContentType="application/vnd.openxmlformats-officedocument.drawingml.chart+xml"/>
  <Override PartName="/ppt/charts/style41.xml" ContentType="application/vnd.ms-office.chartstyle+xml"/>
  <Override PartName="/ppt/charts/colors41.xml" ContentType="application/vnd.ms-office.chartcolorstyle+xml"/>
  <Override PartName="/ppt/tags/tag195.xml" ContentType="application/vnd.openxmlformats-officedocument.presentationml.tags+xml"/>
  <Override PartName="/ppt/charts/chart166.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167.xml" ContentType="application/vnd.openxmlformats-officedocument.drawingml.chart+xml"/>
  <Override PartName="/ppt/charts/style43.xml" ContentType="application/vnd.ms-office.chartstyle+xml"/>
  <Override PartName="/ppt/charts/colors43.xml" ContentType="application/vnd.ms-office.chartcolorstyle+xml"/>
  <Override PartName="/ppt/tags/tag196.xml" ContentType="application/vnd.openxmlformats-officedocument.presentationml.tags+xml"/>
  <Override PartName="/ppt/charts/chart168.xml" ContentType="application/vnd.openxmlformats-officedocument.drawingml.chart+xml"/>
  <Override PartName="/ppt/tags/tag197.xml" ContentType="application/vnd.openxmlformats-officedocument.presentationml.tags+xml"/>
  <Override PartName="/ppt/charts/chart169.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170.xml" ContentType="application/vnd.openxmlformats-officedocument.drawingml.chart+xml"/>
  <Override PartName="/ppt/charts/style45.xml" ContentType="application/vnd.ms-office.chartstyle+xml"/>
  <Override PartName="/ppt/charts/colors45.xml" ContentType="application/vnd.ms-office.chartcolorstyle+xml"/>
  <Override PartName="/ppt/tags/tag198.xml" ContentType="application/vnd.openxmlformats-officedocument.presentationml.tags+xml"/>
  <Override PartName="/ppt/charts/chart171.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172.xml" ContentType="application/vnd.openxmlformats-officedocument.drawingml.chart+xml"/>
  <Override PartName="/ppt/charts/style47.xml" ContentType="application/vnd.ms-office.chartstyle+xml"/>
  <Override PartName="/ppt/charts/colors47.xml" ContentType="application/vnd.ms-office.chartcolorstyle+xml"/>
  <Override PartName="/ppt/tags/tag199.xml" ContentType="application/vnd.openxmlformats-officedocument.presentationml.tags+xml"/>
  <Override PartName="/ppt/charts/chart173.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174.xml" ContentType="application/vnd.openxmlformats-officedocument.drawingml.chart+xml"/>
  <Override PartName="/ppt/charts/style49.xml" ContentType="application/vnd.ms-office.chartstyle+xml"/>
  <Override PartName="/ppt/charts/colors49.xml" ContentType="application/vnd.ms-office.chartcolorstyle+xml"/>
  <Override PartName="/ppt/tags/tag200.xml" ContentType="application/vnd.openxmlformats-officedocument.presentationml.tags+xml"/>
  <Override PartName="/ppt/charts/chart175.xml" ContentType="application/vnd.openxmlformats-officedocument.drawingml.chart+xml"/>
  <Override PartName="/ppt/tags/tag201.xml" ContentType="application/vnd.openxmlformats-officedocument.presentationml.tags+xml"/>
  <Override PartName="/ppt/charts/chart176.xml" ContentType="application/vnd.openxmlformats-officedocument.drawingml.chart+xml"/>
  <Override PartName="/ppt/tags/tag202.xml" ContentType="application/vnd.openxmlformats-officedocument.presentationml.tags+xml"/>
  <Override PartName="/ppt/charts/chart177.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178.xml" ContentType="application/vnd.openxmlformats-officedocument.drawingml.chart+xml"/>
  <Override PartName="/ppt/charts/style51.xml" ContentType="application/vnd.ms-office.chartstyle+xml"/>
  <Override PartName="/ppt/charts/colors51.xml" ContentType="application/vnd.ms-office.chartcolorstyle+xml"/>
  <Override PartName="/ppt/tags/tag203.xml" ContentType="application/vnd.openxmlformats-officedocument.presentationml.tags+xml"/>
  <Override PartName="/ppt/charts/chart179.xml" ContentType="application/vnd.openxmlformats-officedocument.drawingml.chart+xml"/>
  <Override PartName="/ppt/tags/tag204.xml" ContentType="application/vnd.openxmlformats-officedocument.presentationml.tags+xml"/>
  <Override PartName="/ppt/charts/chart180.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181.xml" ContentType="application/vnd.openxmlformats-officedocument.drawingml.chart+xml"/>
  <Override PartName="/ppt/charts/style53.xml" ContentType="application/vnd.ms-office.chartstyle+xml"/>
  <Override PartName="/ppt/charts/colors53.xml" ContentType="application/vnd.ms-office.chartcolorstyle+xml"/>
  <Override PartName="/ppt/tags/tag205.xml" ContentType="application/vnd.openxmlformats-officedocument.presentationml.tags+xml"/>
  <Override PartName="/ppt/charts/chart182.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183.xml" ContentType="application/vnd.openxmlformats-officedocument.drawingml.chart+xml"/>
  <Override PartName="/ppt/charts/style55.xml" ContentType="application/vnd.ms-office.chartstyle+xml"/>
  <Override PartName="/ppt/charts/colors55.xml" ContentType="application/vnd.ms-office.chartcolorstyle+xml"/>
  <Override PartName="/ppt/tags/tag206.xml" ContentType="application/vnd.openxmlformats-officedocument.presentationml.tags+xml"/>
  <Override PartName="/ppt/charts/chart184.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185.xml" ContentType="application/vnd.openxmlformats-officedocument.drawingml.chart+xml"/>
  <Override PartName="/ppt/charts/style57.xml" ContentType="application/vnd.ms-office.chartstyle+xml"/>
  <Override PartName="/ppt/charts/colors57.xml" ContentType="application/vnd.ms-office.chartcolorstyle+xml"/>
  <Override PartName="/ppt/tags/tag207.xml" ContentType="application/vnd.openxmlformats-officedocument.presentationml.tags+xml"/>
  <Override PartName="/ppt/charts/chart186.xml" ContentType="application/vnd.openxmlformats-officedocument.drawingml.chart+xml"/>
  <Override PartName="/ppt/tags/tag208.xml" ContentType="application/vnd.openxmlformats-officedocument.presentationml.tags+xml"/>
  <Override PartName="/ppt/charts/chart187.xml" ContentType="application/vnd.openxmlformats-officedocument.drawingml.chart+xml"/>
  <Override PartName="/ppt/tags/tag209.xml" ContentType="application/vnd.openxmlformats-officedocument.presentationml.tags+xml"/>
  <Override PartName="/ppt/charts/chart188.xml" ContentType="application/vnd.openxmlformats-officedocument.drawingml.chart+xml"/>
  <Override PartName="/ppt/tags/tag210.xml" ContentType="application/vnd.openxmlformats-officedocument.presentationml.tags+xml"/>
  <Override PartName="/ppt/charts/chart189.xml" ContentType="application/vnd.openxmlformats-officedocument.drawingml.chart+xml"/>
  <Override PartName="/ppt/tags/tag211.xml" ContentType="application/vnd.openxmlformats-officedocument.presentationml.tags+xml"/>
  <Override PartName="/ppt/charts/chart190.xml" ContentType="application/vnd.openxmlformats-officedocument.drawingml.chart+xml"/>
  <Override PartName="/ppt/tags/tag212.xml" ContentType="application/vnd.openxmlformats-officedocument.presentationml.tags+xml"/>
  <Override PartName="/ppt/charts/chart191.xml" ContentType="application/vnd.openxmlformats-officedocument.drawingml.chart+xml"/>
  <Override PartName="/ppt/tags/tag213.xml" ContentType="application/vnd.openxmlformats-officedocument.presentationml.tags+xml"/>
  <Override PartName="/ppt/charts/chart192.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193.xml" ContentType="application/vnd.openxmlformats-officedocument.drawingml.chart+xml"/>
  <Override PartName="/ppt/charts/style59.xml" ContentType="application/vnd.ms-office.chartstyle+xml"/>
  <Override PartName="/ppt/charts/colors59.xml" ContentType="application/vnd.ms-office.chartcolorstyle+xml"/>
  <Override PartName="/ppt/tags/tag214.xml" ContentType="application/vnd.openxmlformats-officedocument.presentationml.tags+xml"/>
  <Override PartName="/ppt/charts/chart194.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195.xml" ContentType="application/vnd.openxmlformats-officedocument.drawingml.chart+xml"/>
  <Override PartName="/ppt/charts/style61.xml" ContentType="application/vnd.ms-office.chartstyle+xml"/>
  <Override PartName="/ppt/charts/colors61.xml" ContentType="application/vnd.ms-office.chartcolorstyle+xml"/>
  <Override PartName="/ppt/tags/tag215.xml" ContentType="application/vnd.openxmlformats-officedocument.presentationml.tags+xml"/>
  <Override PartName="/ppt/charts/chart196.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197.xml" ContentType="application/vnd.openxmlformats-officedocument.drawingml.chart+xml"/>
  <Override PartName="/ppt/charts/style63.xml" ContentType="application/vnd.ms-office.chartstyle+xml"/>
  <Override PartName="/ppt/charts/colors63.xml" ContentType="application/vnd.ms-office.chartcolorstyle+xml"/>
  <Override PartName="/ppt/tags/tag216.xml" ContentType="application/vnd.openxmlformats-officedocument.presentationml.tags+xml"/>
  <Override PartName="/ppt/charts/chart198.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199.xml" ContentType="application/vnd.openxmlformats-officedocument.drawingml.chart+xml"/>
  <Override PartName="/ppt/charts/style65.xml" ContentType="application/vnd.ms-office.chartstyle+xml"/>
  <Override PartName="/ppt/charts/colors65.xml" ContentType="application/vnd.ms-office.chartcolorstyle+xml"/>
  <Override PartName="/ppt/tags/tag217.xml" ContentType="application/vnd.openxmlformats-officedocument.presentationml.tags+xml"/>
  <Override PartName="/ppt/charts/chart200.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201.xml" ContentType="application/vnd.openxmlformats-officedocument.drawingml.chart+xml"/>
  <Override PartName="/ppt/charts/style67.xml" ContentType="application/vnd.ms-office.chartstyle+xml"/>
  <Override PartName="/ppt/charts/colors67.xml" ContentType="application/vnd.ms-office.chartcolorstyle+xml"/>
  <Override PartName="/ppt/tags/tag218.xml" ContentType="application/vnd.openxmlformats-officedocument.presentationml.tags+xml"/>
  <Override PartName="/ppt/charts/chart202.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203.xml" ContentType="application/vnd.openxmlformats-officedocument.drawingml.chart+xml"/>
  <Override PartName="/ppt/charts/style69.xml" ContentType="application/vnd.ms-office.chartstyle+xml"/>
  <Override PartName="/ppt/charts/colors69.xml" ContentType="application/vnd.ms-office.chartcolorstyle+xml"/>
  <Override PartName="/ppt/tags/tag219.xml" ContentType="application/vnd.openxmlformats-officedocument.presentationml.tags+xml"/>
  <Override PartName="/ppt/charts/chart204.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205.xml" ContentType="application/vnd.openxmlformats-officedocument.drawingml.chart+xml"/>
  <Override PartName="/ppt/charts/style71.xml" ContentType="application/vnd.ms-office.chartstyle+xml"/>
  <Override PartName="/ppt/charts/colors71.xml" ContentType="application/vnd.ms-office.chartcolorstyle+xml"/>
  <Override PartName="/ppt/tags/tag220.xml" ContentType="application/vnd.openxmlformats-officedocument.presentationml.tags+xml"/>
  <Override PartName="/ppt/charts/chart206.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207.xml" ContentType="application/vnd.openxmlformats-officedocument.drawingml.chart+xml"/>
  <Override PartName="/ppt/charts/style73.xml" ContentType="application/vnd.ms-office.chartstyle+xml"/>
  <Override PartName="/ppt/charts/colors73.xml" ContentType="application/vnd.ms-office.chartcolorstyle+xml"/>
  <Override PartName="/ppt/tags/tag221.xml" ContentType="application/vnd.openxmlformats-officedocument.presentationml.tags+xml"/>
  <Override PartName="/ppt/charts/chart208.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209.xml" ContentType="application/vnd.openxmlformats-officedocument.drawingml.chart+xml"/>
  <Override PartName="/ppt/charts/style75.xml" ContentType="application/vnd.ms-office.chartstyle+xml"/>
  <Override PartName="/ppt/charts/colors75.xml" ContentType="application/vnd.ms-office.chartcolorstyle+xml"/>
  <Override PartName="/ppt/tags/tag222.xml" ContentType="application/vnd.openxmlformats-officedocument.presentationml.tags+xml"/>
  <Override PartName="/ppt/charts/chart210.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211.xml" ContentType="application/vnd.openxmlformats-officedocument.drawingml.chart+xml"/>
  <Override PartName="/ppt/charts/style77.xml" ContentType="application/vnd.ms-office.chartstyle+xml"/>
  <Override PartName="/ppt/charts/colors77.xml" ContentType="application/vnd.ms-office.chartcolorstyle+xml"/>
  <Override PartName="/ppt/tags/tag223.xml" ContentType="application/vnd.openxmlformats-officedocument.presentationml.tags+xml"/>
  <Override PartName="/ppt/charts/chart212.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213.xml" ContentType="application/vnd.openxmlformats-officedocument.drawingml.chart+xml"/>
  <Override PartName="/ppt/charts/style79.xml" ContentType="application/vnd.ms-office.chartstyle+xml"/>
  <Override PartName="/ppt/charts/colors79.xml" ContentType="application/vnd.ms-office.chartcolorstyle+xml"/>
  <Override PartName="/ppt/tags/tag224.xml" ContentType="application/vnd.openxmlformats-officedocument.presentationml.tags+xml"/>
  <Override PartName="/ppt/charts/chart214.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215.xml" ContentType="application/vnd.openxmlformats-officedocument.drawingml.chart+xml"/>
  <Override PartName="/ppt/charts/style81.xml" ContentType="application/vnd.ms-office.chartstyle+xml"/>
  <Override PartName="/ppt/charts/colors81.xml" ContentType="application/vnd.ms-office.chartcolorstyle+xml"/>
  <Override PartName="/ppt/tags/tag225.xml" ContentType="application/vnd.openxmlformats-officedocument.presentationml.tags+xml"/>
  <Override PartName="/ppt/charts/chart216.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217.xml" ContentType="application/vnd.openxmlformats-officedocument.drawingml.chart+xml"/>
  <Override PartName="/ppt/charts/style83.xml" ContentType="application/vnd.ms-office.chartstyle+xml"/>
  <Override PartName="/ppt/charts/colors83.xml" ContentType="application/vnd.ms-office.chartcolorstyle+xml"/>
  <Override PartName="/ppt/tags/tag226.xml" ContentType="application/vnd.openxmlformats-officedocument.presentationml.tags+xml"/>
  <Override PartName="/ppt/charts/chart218.xml" ContentType="application/vnd.openxmlformats-officedocument.drawingml.chart+xml"/>
  <Override PartName="/ppt/charts/style84.xml" ContentType="application/vnd.ms-office.chartstyle+xml"/>
  <Override PartName="/ppt/charts/colors84.xml" ContentType="application/vnd.ms-office.chartcolorstyle+xml"/>
  <Override PartName="/ppt/charts/chart219.xml" ContentType="application/vnd.openxmlformats-officedocument.drawingml.chart+xml"/>
  <Override PartName="/ppt/charts/style85.xml" ContentType="application/vnd.ms-office.chartstyle+xml"/>
  <Override PartName="/ppt/charts/colors85.xml" ContentType="application/vnd.ms-office.chartcolorstyle+xml"/>
  <Override PartName="/ppt/tags/tag227.xml" ContentType="application/vnd.openxmlformats-officedocument.presentationml.tags+xml"/>
  <Override PartName="/ppt/charts/chart220.xml" ContentType="application/vnd.openxmlformats-officedocument.drawingml.chart+xml"/>
  <Override PartName="/ppt/charts/style86.xml" ContentType="application/vnd.ms-office.chartstyle+xml"/>
  <Override PartName="/ppt/charts/colors86.xml" ContentType="application/vnd.ms-office.chartcolorstyle+xml"/>
  <Override PartName="/ppt/charts/chart221.xml" ContentType="application/vnd.openxmlformats-officedocument.drawingml.chart+xml"/>
  <Override PartName="/ppt/charts/style87.xml" ContentType="application/vnd.ms-office.chartstyle+xml"/>
  <Override PartName="/ppt/charts/colors87.xml" ContentType="application/vnd.ms-office.chartcolorstyle+xml"/>
  <Override PartName="/ppt/tags/tag228.xml" ContentType="application/vnd.openxmlformats-officedocument.presentationml.tags+xml"/>
  <Override PartName="/ppt/charts/chart222.xml" ContentType="application/vnd.openxmlformats-officedocument.drawingml.chart+xml"/>
  <Override PartName="/ppt/charts/style88.xml" ContentType="application/vnd.ms-office.chartstyle+xml"/>
  <Override PartName="/ppt/charts/colors88.xml" ContentType="application/vnd.ms-office.chartcolorstyle+xml"/>
  <Override PartName="/ppt/charts/chart223.xml" ContentType="application/vnd.openxmlformats-officedocument.drawingml.chart+xml"/>
  <Override PartName="/ppt/charts/style89.xml" ContentType="application/vnd.ms-office.chartstyle+xml"/>
  <Override PartName="/ppt/charts/colors89.xml" ContentType="application/vnd.ms-office.chartcolorstyle+xml"/>
  <Override PartName="/ppt/tags/tag229.xml" ContentType="application/vnd.openxmlformats-officedocument.presentationml.tags+xml"/>
  <Override PartName="/ppt/charts/chart224.xml" ContentType="application/vnd.openxmlformats-officedocument.drawingml.chart+xml"/>
  <Override PartName="/ppt/charts/style90.xml" ContentType="application/vnd.ms-office.chartstyle+xml"/>
  <Override PartName="/ppt/charts/colors90.xml" ContentType="application/vnd.ms-office.chartcolorstyle+xml"/>
  <Override PartName="/ppt/charts/chart225.xml" ContentType="application/vnd.openxmlformats-officedocument.drawingml.chart+xml"/>
  <Override PartName="/ppt/charts/style91.xml" ContentType="application/vnd.ms-office.chartstyle+xml"/>
  <Override PartName="/ppt/charts/colors91.xml" ContentType="application/vnd.ms-office.chartcolorstyle+xml"/>
  <Override PartName="/ppt/tags/tag230.xml" ContentType="application/vnd.openxmlformats-officedocument.presentationml.tags+xml"/>
  <Override PartName="/ppt/charts/chart226.xml" ContentType="application/vnd.openxmlformats-officedocument.drawingml.chart+xml"/>
  <Override PartName="/ppt/charts/style92.xml" ContentType="application/vnd.ms-office.chartstyle+xml"/>
  <Override PartName="/ppt/charts/colors92.xml" ContentType="application/vnd.ms-office.chartcolorstyle+xml"/>
  <Override PartName="/ppt/charts/chart227.xml" ContentType="application/vnd.openxmlformats-officedocument.drawingml.chart+xml"/>
  <Override PartName="/ppt/charts/style93.xml" ContentType="application/vnd.ms-office.chartstyle+xml"/>
  <Override PartName="/ppt/charts/colors93.xml" ContentType="application/vnd.ms-office.chartcolorstyle+xml"/>
  <Override PartName="/ppt/tags/tag231.xml" ContentType="application/vnd.openxmlformats-officedocument.presentationml.tags+xml"/>
  <Override PartName="/ppt/charts/chart228.xml" ContentType="application/vnd.openxmlformats-officedocument.drawingml.chart+xml"/>
  <Override PartName="/ppt/charts/style94.xml" ContentType="application/vnd.ms-office.chartstyle+xml"/>
  <Override PartName="/ppt/charts/colors94.xml" ContentType="application/vnd.ms-office.chartcolorstyle+xml"/>
  <Override PartName="/ppt/charts/chart229.xml" ContentType="application/vnd.openxmlformats-officedocument.drawingml.chart+xml"/>
  <Override PartName="/ppt/charts/style95.xml" ContentType="application/vnd.ms-office.chartstyle+xml"/>
  <Override PartName="/ppt/charts/colors95.xml" ContentType="application/vnd.ms-office.chartcolorstyle+xml"/>
  <Override PartName="/ppt/tags/tag232.xml" ContentType="application/vnd.openxmlformats-officedocument.presentationml.tags+xml"/>
  <Override PartName="/ppt/charts/chart230.xml" ContentType="application/vnd.openxmlformats-officedocument.drawingml.chart+xml"/>
  <Override PartName="/ppt/charts/style96.xml" ContentType="application/vnd.ms-office.chartstyle+xml"/>
  <Override PartName="/ppt/charts/colors96.xml" ContentType="application/vnd.ms-office.chartcolorstyle+xml"/>
  <Override PartName="/ppt/charts/chart231.xml" ContentType="application/vnd.openxmlformats-officedocument.drawingml.chart+xml"/>
  <Override PartName="/ppt/charts/style97.xml" ContentType="application/vnd.ms-office.chartstyle+xml"/>
  <Override PartName="/ppt/charts/colors97.xml" ContentType="application/vnd.ms-office.chartcolorstyle+xml"/>
  <Override PartName="/ppt/tags/tag233.xml" ContentType="application/vnd.openxmlformats-officedocument.presentationml.tags+xml"/>
  <Override PartName="/ppt/charts/chart232.xml" ContentType="application/vnd.openxmlformats-officedocument.drawingml.chart+xml"/>
  <Override PartName="/ppt/charts/style98.xml" ContentType="application/vnd.ms-office.chartstyle+xml"/>
  <Override PartName="/ppt/charts/colors98.xml" ContentType="application/vnd.ms-office.chartcolorstyle+xml"/>
  <Override PartName="/ppt/charts/chart233.xml" ContentType="application/vnd.openxmlformats-officedocument.drawingml.chart+xml"/>
  <Override PartName="/ppt/charts/style99.xml" ContentType="application/vnd.ms-office.chartstyle+xml"/>
  <Override PartName="/ppt/charts/colors99.xml" ContentType="application/vnd.ms-office.chartcolorstyle+xml"/>
  <Override PartName="/ppt/tags/tag234.xml" ContentType="application/vnd.openxmlformats-officedocument.presentationml.tags+xml"/>
  <Override PartName="/ppt/charts/chart234.xml" ContentType="application/vnd.openxmlformats-officedocument.drawingml.chart+xml"/>
  <Override PartName="/ppt/charts/style100.xml" ContentType="application/vnd.ms-office.chartstyle+xml"/>
  <Override PartName="/ppt/charts/colors100.xml" ContentType="application/vnd.ms-office.chartcolorstyle+xml"/>
  <Override PartName="/ppt/charts/chart235.xml" ContentType="application/vnd.openxmlformats-officedocument.drawingml.chart+xml"/>
  <Override PartName="/ppt/charts/style101.xml" ContentType="application/vnd.ms-office.chartstyle+xml"/>
  <Override PartName="/ppt/charts/colors101.xml" ContentType="application/vnd.ms-office.chartcolorstyle+xml"/>
  <Override PartName="/ppt/tags/tag235.xml" ContentType="application/vnd.openxmlformats-officedocument.presentationml.tags+xml"/>
  <Override PartName="/ppt/charts/chart236.xml" ContentType="application/vnd.openxmlformats-officedocument.drawingml.chart+xml"/>
  <Override PartName="/ppt/tags/tag236.xml" ContentType="application/vnd.openxmlformats-officedocument.presentationml.tags+xml"/>
  <Override PartName="/ppt/charts/chart237.xml" ContentType="application/vnd.openxmlformats-officedocument.drawingml.chart+xml"/>
  <Override PartName="/ppt/tags/tag23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tags/tag238.xml" ContentType="application/vnd.openxmlformats-officedocument.presentationml.tags+xml"/>
  <Override PartName="/ppt/charts/chart240.xml" ContentType="application/vnd.openxmlformats-officedocument.drawingml.chart+xml"/>
  <Override PartName="/ppt/charts/chart241.xml" ContentType="application/vnd.openxmlformats-officedocument.drawingml.chart+xml"/>
  <Override PartName="/ppt/tags/tag239.xml" ContentType="application/vnd.openxmlformats-officedocument.presentationml.tags+xml"/>
  <Override PartName="/ppt/charts/chart242.xml" ContentType="application/vnd.openxmlformats-officedocument.drawingml.chart+xml"/>
  <Override PartName="/ppt/tags/tag240.xml" ContentType="application/vnd.openxmlformats-officedocument.presentationml.tags+xml"/>
  <Override PartName="/ppt/charts/chart243.xml" ContentType="application/vnd.openxmlformats-officedocument.drawingml.chart+xml"/>
  <Override PartName="/ppt/tags/tag241.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tags/tag242.xml" ContentType="application/vnd.openxmlformats-officedocument.presentationml.tags+xml"/>
  <Override PartName="/ppt/charts/chart246.xml" ContentType="application/vnd.openxmlformats-officedocument.drawingml.chart+xml"/>
  <Override PartName="/ppt/charts/chart247.xml" ContentType="application/vnd.openxmlformats-officedocument.drawingml.chart+xml"/>
  <Override PartName="/ppt/tags/tag243.xml" ContentType="application/vnd.openxmlformats-officedocument.presentationml.tags+xml"/>
  <Override PartName="/ppt/notesSlides/notesSlide73.xml" ContentType="application/vnd.openxmlformats-officedocument.presentationml.notesSlide+xml"/>
  <Override PartName="/ppt/charts/chart248.xml" ContentType="application/vnd.openxmlformats-officedocument.drawingml.chart+xml"/>
  <Override PartName="/ppt/charts/style102.xml" ContentType="application/vnd.ms-office.chartstyle+xml"/>
  <Override PartName="/ppt/charts/colors102.xml" ContentType="application/vnd.ms-office.chartcolorstyle+xml"/>
  <Override PartName="/ppt/charts/chart249.xml" ContentType="application/vnd.openxmlformats-officedocument.drawingml.chart+xml"/>
  <Override PartName="/ppt/charts/style103.xml" ContentType="application/vnd.ms-office.chartstyle+xml"/>
  <Override PartName="/ppt/charts/colors103.xml" ContentType="application/vnd.ms-office.chartcolorstyle+xml"/>
  <Override PartName="/ppt/tags/tag244.xml" ContentType="application/vnd.openxmlformats-officedocument.presentationml.tags+xml"/>
  <Override PartName="/ppt/notesSlides/notesSlide74.xml" ContentType="application/vnd.openxmlformats-officedocument.presentationml.notesSlide+xml"/>
  <Override PartName="/ppt/charts/chart250.xml" ContentType="application/vnd.openxmlformats-officedocument.drawingml.chart+xml"/>
  <Override PartName="/ppt/charts/style104.xml" ContentType="application/vnd.ms-office.chartstyle+xml"/>
  <Override PartName="/ppt/charts/colors104.xml" ContentType="application/vnd.ms-office.chartcolorstyle+xml"/>
  <Override PartName="/ppt/charts/chart251.xml" ContentType="application/vnd.openxmlformats-officedocument.drawingml.chart+xml"/>
  <Override PartName="/ppt/charts/style105.xml" ContentType="application/vnd.ms-office.chartstyle+xml"/>
  <Override PartName="/ppt/charts/colors105.xml" ContentType="application/vnd.ms-office.chartcolorstyle+xml"/>
  <Override PartName="/ppt/tags/tag245.xml" ContentType="application/vnd.openxmlformats-officedocument.presentationml.tags+xml"/>
  <Override PartName="/ppt/notesSlides/notesSlide75.xml" ContentType="application/vnd.openxmlformats-officedocument.presentationml.notesSlide+xml"/>
  <Override PartName="/ppt/charts/chart252.xml" ContentType="application/vnd.openxmlformats-officedocument.drawingml.chart+xml"/>
  <Override PartName="/ppt/charts/style106.xml" ContentType="application/vnd.ms-office.chartstyle+xml"/>
  <Override PartName="/ppt/charts/colors106.xml" ContentType="application/vnd.ms-office.chartcolorstyle+xml"/>
  <Override PartName="/ppt/charts/chart253.xml" ContentType="application/vnd.openxmlformats-officedocument.drawingml.chart+xml"/>
  <Override PartName="/ppt/charts/style107.xml" ContentType="application/vnd.ms-office.chartstyle+xml"/>
  <Override PartName="/ppt/charts/colors107.xml" ContentType="application/vnd.ms-office.chartcolorstyle+xml"/>
  <Override PartName="/ppt/tags/tag246.xml" ContentType="application/vnd.openxmlformats-officedocument.presentationml.tags+xml"/>
  <Override PartName="/ppt/notesSlides/notesSlide76.xml" ContentType="application/vnd.openxmlformats-officedocument.presentationml.notesSlide+xml"/>
  <Override PartName="/ppt/charts/chart254.xml" ContentType="application/vnd.openxmlformats-officedocument.drawingml.chart+xml"/>
  <Override PartName="/ppt/charts/style108.xml" ContentType="application/vnd.ms-office.chartstyle+xml"/>
  <Override PartName="/ppt/charts/colors108.xml" ContentType="application/vnd.ms-office.chartcolorstyle+xml"/>
  <Override PartName="/ppt/charts/chart255.xml" ContentType="application/vnd.openxmlformats-officedocument.drawingml.chart+xml"/>
  <Override PartName="/ppt/charts/style109.xml" ContentType="application/vnd.ms-office.chartstyle+xml"/>
  <Override PartName="/ppt/charts/colors109.xml" ContentType="application/vnd.ms-office.chartcolorstyle+xml"/>
  <Override PartName="/ppt/tags/tag247.xml" ContentType="application/vnd.openxmlformats-officedocument.presentationml.tags+xml"/>
  <Override PartName="/ppt/notesSlides/notesSlide77.xml" ContentType="application/vnd.openxmlformats-officedocument.presentationml.notesSlide+xml"/>
  <Override PartName="/ppt/charts/chart256.xml" ContentType="application/vnd.openxmlformats-officedocument.drawingml.chart+xml"/>
  <Override PartName="/ppt/charts/style110.xml" ContentType="application/vnd.ms-office.chartstyle+xml"/>
  <Override PartName="/ppt/charts/colors110.xml" ContentType="application/vnd.ms-office.chartcolorstyle+xml"/>
  <Override PartName="/ppt/tags/tag248.xml" ContentType="application/vnd.openxmlformats-officedocument.presentationml.tags+xml"/>
  <Override PartName="/ppt/notesSlides/notesSlide78.xml" ContentType="application/vnd.openxmlformats-officedocument.presentationml.notesSlide+xml"/>
  <Override PartName="/ppt/charts/chart257.xml" ContentType="application/vnd.openxmlformats-officedocument.drawingml.chart+xml"/>
  <Override PartName="/ppt/charts/style111.xml" ContentType="application/vnd.ms-office.chartstyle+xml"/>
  <Override PartName="/ppt/charts/colors111.xml" ContentType="application/vnd.ms-office.chartcolorstyle+xml"/>
  <Override PartName="/ppt/charts/chart258.xml" ContentType="application/vnd.openxmlformats-officedocument.drawingml.chart+xml"/>
  <Override PartName="/ppt/charts/style112.xml" ContentType="application/vnd.ms-office.chartstyle+xml"/>
  <Override PartName="/ppt/charts/colors112.xml" ContentType="application/vnd.ms-office.chartcolorstyle+xml"/>
  <Override PartName="/ppt/tags/tag249.xml" ContentType="application/vnd.openxmlformats-officedocument.presentationml.tags+xml"/>
  <Override PartName="/ppt/notesSlides/notesSlide79.xml" ContentType="application/vnd.openxmlformats-officedocument.presentationml.notesSlide+xml"/>
  <Override PartName="/ppt/charts/chart259.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260.xml" ContentType="application/vnd.openxmlformats-officedocument.drawingml.chart+xml"/>
  <Override PartName="/ppt/charts/style114.xml" ContentType="application/vnd.ms-office.chartstyle+xml"/>
  <Override PartName="/ppt/charts/colors114.xml" ContentType="application/vnd.ms-office.chartcolorstyle+xml"/>
  <Override PartName="/ppt/tags/tag250.xml" ContentType="application/vnd.openxmlformats-officedocument.presentationml.tags+xml"/>
  <Override PartName="/ppt/notesSlides/notesSlide80.xml" ContentType="application/vnd.openxmlformats-officedocument.presentationml.notesSlide+xml"/>
  <Override PartName="/ppt/charts/chart261.xml" ContentType="application/vnd.openxmlformats-officedocument.drawingml.chart+xml"/>
  <Override PartName="/ppt/charts/style115.xml" ContentType="application/vnd.ms-office.chartstyle+xml"/>
  <Override PartName="/ppt/charts/colors115.xml" ContentType="application/vnd.ms-office.chartcolorstyle+xml"/>
  <Override PartName="/ppt/charts/chart262.xml" ContentType="application/vnd.openxmlformats-officedocument.drawingml.chart+xml"/>
  <Override PartName="/ppt/charts/style116.xml" ContentType="application/vnd.ms-office.chartstyle+xml"/>
  <Override PartName="/ppt/charts/colors116.xml" ContentType="application/vnd.ms-office.chartcolorstyle+xml"/>
  <Override PartName="/ppt/tags/tag251.xml" ContentType="application/vnd.openxmlformats-officedocument.presentationml.tags+xml"/>
  <Override PartName="/ppt/notesSlides/notesSlide81.xml" ContentType="application/vnd.openxmlformats-officedocument.presentationml.notesSlide+xml"/>
  <Override PartName="/ppt/charts/chart263.xml" ContentType="application/vnd.openxmlformats-officedocument.drawingml.chart+xml"/>
  <Override PartName="/ppt/charts/style117.xml" ContentType="application/vnd.ms-office.chartstyle+xml"/>
  <Override PartName="/ppt/charts/colors117.xml" ContentType="application/vnd.ms-office.chartcolorstyle+xml"/>
  <Override PartName="/ppt/tags/tag252.xml" ContentType="application/vnd.openxmlformats-officedocument.presentationml.tags+xml"/>
  <Override PartName="/ppt/notesSlides/notesSlide82.xml" ContentType="application/vnd.openxmlformats-officedocument.presentationml.notesSlide+xml"/>
  <Override PartName="/ppt/charts/chart264.xml" ContentType="application/vnd.openxmlformats-officedocument.drawingml.chart+xml"/>
  <Override PartName="/ppt/charts/style118.xml" ContentType="application/vnd.ms-office.chartstyle+xml"/>
  <Override PartName="/ppt/charts/colors118.xml" ContentType="application/vnd.ms-office.chartcolorstyle+xml"/>
  <Override PartName="/ppt/tags/tag253.xml" ContentType="application/vnd.openxmlformats-officedocument.presentationml.tags+xml"/>
  <Override PartName="/ppt/notesSlides/notesSlide83.xml" ContentType="application/vnd.openxmlformats-officedocument.presentationml.notesSlide+xml"/>
  <Override PartName="/ppt/charts/chart265.xml" ContentType="application/vnd.openxmlformats-officedocument.drawingml.chart+xml"/>
  <Override PartName="/ppt/charts/style119.xml" ContentType="application/vnd.ms-office.chartstyle+xml"/>
  <Override PartName="/ppt/charts/colors119.xml" ContentType="application/vnd.ms-office.chartcolorstyle+xml"/>
  <Override PartName="/ppt/charts/chart266.xml" ContentType="application/vnd.openxmlformats-officedocument.drawingml.chart+xml"/>
  <Override PartName="/ppt/charts/style120.xml" ContentType="application/vnd.ms-office.chartstyle+xml"/>
  <Override PartName="/ppt/charts/colors120.xml" ContentType="application/vnd.ms-office.chartcolorstyle+xml"/>
  <Override PartName="/ppt/tags/tag254.xml" ContentType="application/vnd.openxmlformats-officedocument.presentationml.tags+xml"/>
  <Override PartName="/ppt/notesSlides/notesSlide84.xml" ContentType="application/vnd.openxmlformats-officedocument.presentationml.notesSlide+xml"/>
  <Override PartName="/ppt/charts/chart267.xml" ContentType="application/vnd.openxmlformats-officedocument.drawingml.chart+xml"/>
  <Override PartName="/ppt/charts/style121.xml" ContentType="application/vnd.ms-office.chartstyle+xml"/>
  <Override PartName="/ppt/charts/colors121.xml" ContentType="application/vnd.ms-office.chartcolorstyle+xml"/>
  <Override PartName="/ppt/tags/tag255.xml" ContentType="application/vnd.openxmlformats-officedocument.presentationml.tags+xml"/>
  <Override PartName="/ppt/notesSlides/notesSlide85.xml" ContentType="application/vnd.openxmlformats-officedocument.presentationml.notesSlide+xml"/>
  <Override PartName="/ppt/charts/chart268.xml" ContentType="application/vnd.openxmlformats-officedocument.drawingml.chart+xml"/>
  <Override PartName="/ppt/charts/style122.xml" ContentType="application/vnd.ms-office.chartstyle+xml"/>
  <Override PartName="/ppt/charts/colors122.xml" ContentType="application/vnd.ms-office.chartcolorstyle+xml"/>
  <Override PartName="/ppt/charts/chart269.xml" ContentType="application/vnd.openxmlformats-officedocument.drawingml.chart+xml"/>
  <Override PartName="/ppt/charts/style123.xml" ContentType="application/vnd.ms-office.chartstyle+xml"/>
  <Override PartName="/ppt/charts/colors123.xml" ContentType="application/vnd.ms-office.chartcolorstyle+xml"/>
  <Override PartName="/ppt/tags/tag256.xml" ContentType="application/vnd.openxmlformats-officedocument.presentationml.tags+xml"/>
  <Override PartName="/ppt/notesSlides/notesSlide86.xml" ContentType="application/vnd.openxmlformats-officedocument.presentationml.notesSlide+xml"/>
  <Override PartName="/ppt/charts/chart270.xml" ContentType="application/vnd.openxmlformats-officedocument.drawingml.chart+xml"/>
  <Override PartName="/ppt/charts/style124.xml" ContentType="application/vnd.ms-office.chartstyle+xml"/>
  <Override PartName="/ppt/charts/colors124.xml" ContentType="application/vnd.ms-office.chartcolorstyle+xml"/>
  <Override PartName="/ppt/charts/chart271.xml" ContentType="application/vnd.openxmlformats-officedocument.drawingml.chart+xml"/>
  <Override PartName="/ppt/charts/style125.xml" ContentType="application/vnd.ms-office.chartstyle+xml"/>
  <Override PartName="/ppt/charts/colors125.xml" ContentType="application/vnd.ms-office.chartcolorstyle+xml"/>
  <Override PartName="/ppt/tags/tag257.xml" ContentType="application/vnd.openxmlformats-officedocument.presentationml.tags+xml"/>
  <Override PartName="/ppt/notesSlides/notesSlide87.xml" ContentType="application/vnd.openxmlformats-officedocument.presentationml.notesSlide+xml"/>
  <Override PartName="/ppt/charts/chart272.xml" ContentType="application/vnd.openxmlformats-officedocument.drawingml.chart+xml"/>
  <Override PartName="/ppt/charts/style126.xml" ContentType="application/vnd.ms-office.chartstyle+xml"/>
  <Override PartName="/ppt/charts/colors126.xml" ContentType="application/vnd.ms-office.chartcolorstyle+xml"/>
  <Override PartName="/ppt/charts/chart273.xml" ContentType="application/vnd.openxmlformats-officedocument.drawingml.chart+xml"/>
  <Override PartName="/ppt/charts/style127.xml" ContentType="application/vnd.ms-office.chartstyle+xml"/>
  <Override PartName="/ppt/charts/colors127.xml" ContentType="application/vnd.ms-office.chartcolorstyle+xml"/>
  <Override PartName="/ppt/tags/tag258.xml" ContentType="application/vnd.openxmlformats-officedocument.presentationml.tags+xml"/>
  <Override PartName="/ppt/notesSlides/notesSlide88.xml" ContentType="application/vnd.openxmlformats-officedocument.presentationml.notesSlide+xml"/>
  <Override PartName="/ppt/charts/chart274.xml" ContentType="application/vnd.openxmlformats-officedocument.drawingml.chart+xml"/>
  <Override PartName="/ppt/charts/style128.xml" ContentType="application/vnd.ms-office.chartstyle+xml"/>
  <Override PartName="/ppt/charts/colors128.xml" ContentType="application/vnd.ms-office.chartcolorstyle+xml"/>
  <Override PartName="/ppt/tags/tag259.xml" ContentType="application/vnd.openxmlformats-officedocument.presentationml.tags+xml"/>
  <Override PartName="/ppt/notesSlides/notesSlide89.xml" ContentType="application/vnd.openxmlformats-officedocument.presentationml.notesSlide+xml"/>
  <Override PartName="/ppt/charts/chart275.xml" ContentType="application/vnd.openxmlformats-officedocument.drawingml.chart+xml"/>
  <Override PartName="/ppt/charts/style129.xml" ContentType="application/vnd.ms-office.chartstyle+xml"/>
  <Override PartName="/ppt/charts/colors129.xml" ContentType="application/vnd.ms-office.chartcolorstyle+xml"/>
  <Override PartName="/ppt/tags/tag260.xml" ContentType="application/vnd.openxmlformats-officedocument.presentationml.tags+xml"/>
  <Override PartName="/ppt/notesSlides/notesSlide90.xml" ContentType="application/vnd.openxmlformats-officedocument.presentationml.notesSlide+xml"/>
  <Override PartName="/ppt/charts/chart276.xml" ContentType="application/vnd.openxmlformats-officedocument.drawingml.chart+xml"/>
  <Override PartName="/ppt/charts/style130.xml" ContentType="application/vnd.ms-office.chartstyle+xml"/>
  <Override PartName="/ppt/charts/colors130.xml" ContentType="application/vnd.ms-office.chartcolorstyle+xml"/>
  <Override PartName="/ppt/tags/tag261.xml" ContentType="application/vnd.openxmlformats-officedocument.presentationml.tags+xml"/>
  <Override PartName="/ppt/notesSlides/notesSlide91.xml" ContentType="application/vnd.openxmlformats-officedocument.presentationml.notesSlide+xml"/>
  <Override PartName="/ppt/charts/chart277.xml" ContentType="application/vnd.openxmlformats-officedocument.drawingml.chart+xml"/>
  <Override PartName="/ppt/charts/style131.xml" ContentType="application/vnd.ms-office.chartstyle+xml"/>
  <Override PartName="/ppt/charts/colors131.xml" ContentType="application/vnd.ms-office.chartcolorstyle+xml"/>
  <Override PartName="/ppt/tags/tag262.xml" ContentType="application/vnd.openxmlformats-officedocument.presentationml.tags+xml"/>
  <Override PartName="/ppt/notesSlides/notesSlide92.xml" ContentType="application/vnd.openxmlformats-officedocument.presentationml.notesSlide+xml"/>
  <Override PartName="/ppt/charts/chart278.xml" ContentType="application/vnd.openxmlformats-officedocument.drawingml.chart+xml"/>
  <Override PartName="/ppt/charts/style132.xml" ContentType="application/vnd.ms-office.chartstyle+xml"/>
  <Override PartName="/ppt/charts/colors132.xml" ContentType="application/vnd.ms-office.chartcolorstyle+xml"/>
  <Override PartName="/ppt/tags/tag263.xml" ContentType="application/vnd.openxmlformats-officedocument.presentationml.tags+xml"/>
  <Override PartName="/ppt/notesSlides/notesSlide93.xml" ContentType="application/vnd.openxmlformats-officedocument.presentationml.notesSlide+xml"/>
  <Override PartName="/ppt/charts/chart279.xml" ContentType="application/vnd.openxmlformats-officedocument.drawingml.chart+xml"/>
  <Override PartName="/ppt/charts/chart280.xml" ContentType="application/vnd.openxmlformats-officedocument.drawingml.chart+xml"/>
  <Override PartName="/ppt/tags/tag264.xml" ContentType="application/vnd.openxmlformats-officedocument.presentationml.tags+xml"/>
  <Override PartName="/ppt/notesSlides/notesSlide94.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tags/tag265.xml" ContentType="application/vnd.openxmlformats-officedocument.presentationml.tags+xml"/>
  <Override PartName="/ppt/notesSlides/notesSlide95.xml" ContentType="application/vnd.openxmlformats-officedocument.presentationml.notesSlide+xml"/>
  <Override PartName="/ppt/charts/chart283.xml" ContentType="application/vnd.openxmlformats-officedocument.drawingml.chart+xml"/>
  <Override PartName="/ppt/charts/chart284.xml" ContentType="application/vnd.openxmlformats-officedocument.drawingml.chart+xml"/>
  <Override PartName="/ppt/tags/tag266.xml" ContentType="application/vnd.openxmlformats-officedocument.presentationml.tags+xml"/>
  <Override PartName="/ppt/notesSlides/notesSlide96.xml" ContentType="application/vnd.openxmlformats-officedocument.presentationml.notesSlide+xml"/>
  <Override PartName="/ppt/charts/chart285.xml" ContentType="application/vnd.openxmlformats-officedocument.drawingml.chart+xml"/>
  <Override PartName="/ppt/charts/chart286.xml" ContentType="application/vnd.openxmlformats-officedocument.drawingml.chart+xml"/>
  <Override PartName="/ppt/tags/tag267.xml" ContentType="application/vnd.openxmlformats-officedocument.presentationml.tags+xml"/>
  <Override PartName="/ppt/notesSlides/notesSlide97.xml" ContentType="application/vnd.openxmlformats-officedocument.presentationml.notesSlide+xml"/>
  <Override PartName="/ppt/charts/chart287.xml" ContentType="application/vnd.openxmlformats-officedocument.drawingml.chart+xml"/>
  <Override PartName="/ppt/charts/chart288.xml" ContentType="application/vnd.openxmlformats-officedocument.drawingml.chart+xml"/>
  <Override PartName="/ppt/tags/tag268.xml" ContentType="application/vnd.openxmlformats-officedocument.presentationml.tags+xml"/>
  <Override PartName="/ppt/notesSlides/notesSlide98.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tags/tag269.xml" ContentType="application/vnd.openxmlformats-officedocument.presentationml.tags+xml"/>
  <Override PartName="/ppt/notesSlides/notesSlide99.xml" ContentType="application/vnd.openxmlformats-officedocument.presentationml.notesSlide+xml"/>
  <Override PartName="/ppt/charts/chart291.xml" ContentType="application/vnd.openxmlformats-officedocument.drawingml.chart+xml"/>
  <Override PartName="/ppt/charts/chart292.xml" ContentType="application/vnd.openxmlformats-officedocument.drawingml.chart+xml"/>
  <Override PartName="/ppt/tags/tag270.xml" ContentType="application/vnd.openxmlformats-officedocument.presentationml.tags+xml"/>
  <Override PartName="/ppt/notesSlides/notesSlide100.xml" ContentType="application/vnd.openxmlformats-officedocument.presentationml.notesSlide+xml"/>
  <Override PartName="/ppt/charts/chart293.xml" ContentType="application/vnd.openxmlformats-officedocument.drawingml.chart+xml"/>
  <Override PartName="/ppt/charts/chart294.xml" ContentType="application/vnd.openxmlformats-officedocument.drawingml.chart+xml"/>
  <Override PartName="/ppt/tags/tag271.xml" ContentType="application/vnd.openxmlformats-officedocument.presentationml.tags+xml"/>
  <Override PartName="/ppt/notesSlides/notesSlide101.xml" ContentType="application/vnd.openxmlformats-officedocument.presentationml.notesSlide+xml"/>
  <Override PartName="/ppt/charts/chart295.xml" ContentType="application/vnd.openxmlformats-officedocument.drawingml.chart+xml"/>
  <Override PartName="/ppt/charts/chart296.xml" ContentType="application/vnd.openxmlformats-officedocument.drawingml.chart+xml"/>
  <Override PartName="/ppt/tags/tag272.xml" ContentType="application/vnd.openxmlformats-officedocument.presentationml.tags+xml"/>
  <Override PartName="/ppt/notesSlides/notesSlide102.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tags/tag273.xml" ContentType="application/vnd.openxmlformats-officedocument.presentationml.tags+xml"/>
  <Override PartName="/ppt/notesSlides/notesSlide103.xml" ContentType="application/vnd.openxmlformats-officedocument.presentationml.notesSlide+xml"/>
  <Override PartName="/ppt/charts/chart299.xml" ContentType="application/vnd.openxmlformats-officedocument.drawingml.chart+xml"/>
  <Override PartName="/ppt/charts/chart300.xml" ContentType="application/vnd.openxmlformats-officedocument.drawingml.chart+xml"/>
  <Override PartName="/ppt/tags/tag274.xml" ContentType="application/vnd.openxmlformats-officedocument.presentationml.tags+xml"/>
  <Override PartName="/ppt/notesSlides/notesSlide104.xml" ContentType="application/vnd.openxmlformats-officedocument.presentationml.notesSlide+xml"/>
  <Override PartName="/ppt/charts/chart301.xml" ContentType="application/vnd.openxmlformats-officedocument.drawingml.chart+xml"/>
  <Override PartName="/ppt/charts/chart302.xml" ContentType="application/vnd.openxmlformats-officedocument.drawingml.chart+xml"/>
  <Override PartName="/ppt/tags/tag275.xml" ContentType="application/vnd.openxmlformats-officedocument.presentationml.tags+xml"/>
  <Override PartName="/ppt/notesSlides/notesSlide105.xml" ContentType="application/vnd.openxmlformats-officedocument.presentationml.notesSlide+xml"/>
  <Override PartName="/ppt/tags/tag276.xml" ContentType="application/vnd.openxmlformats-officedocument.presentationml.tags+xml"/>
  <Override PartName="/ppt/notesSlides/notesSlide106.xml" ContentType="application/vnd.openxmlformats-officedocument.presentationml.notesSlide+xml"/>
  <Override PartName="/ppt/tags/tag277.xml" ContentType="application/vnd.openxmlformats-officedocument.presentationml.tags+xml"/>
  <Override PartName="/ppt/notesSlides/notesSlide107.xml" ContentType="application/vnd.openxmlformats-officedocument.presentationml.notesSlide+xml"/>
  <Override PartName="/ppt/tags/tag278.xml" ContentType="application/vnd.openxmlformats-officedocument.presentationml.tags+xml"/>
  <Override PartName="/ppt/notesSlides/notesSlide108.xml" ContentType="application/vnd.openxmlformats-officedocument.presentationml.notesSlide+xml"/>
  <Override PartName="/ppt/tags/tag279.xml" ContentType="application/vnd.openxmlformats-officedocument.presentationml.tags+xml"/>
  <Override PartName="/ppt/notesSlides/notesSlide109.xml" ContentType="application/vnd.openxmlformats-officedocument.presentationml.notesSlide+xml"/>
  <Override PartName="/ppt/charts/chart303.xml" ContentType="application/vnd.openxmlformats-officedocument.drawingml.chart+xml"/>
  <Override PartName="/ppt/charts/style133.xml" ContentType="application/vnd.ms-office.chartstyle+xml"/>
  <Override PartName="/ppt/charts/colors133.xml" ContentType="application/vnd.ms-office.chartcolorstyle+xml"/>
  <Override PartName="/ppt/tags/tag280.xml" ContentType="application/vnd.openxmlformats-officedocument.presentationml.tags+xml"/>
  <Override PartName="/ppt/notesSlides/notesSlide110.xml" ContentType="application/vnd.openxmlformats-officedocument.presentationml.notesSlide+xml"/>
  <Override PartName="/ppt/charts/chart304.xml" ContentType="application/vnd.openxmlformats-officedocument.drawingml.chart+xml"/>
  <Override PartName="/ppt/charts/style134.xml" ContentType="application/vnd.ms-office.chartstyle+xml"/>
  <Override PartName="/ppt/charts/colors134.xml" ContentType="application/vnd.ms-office.chartcolorstyle+xml"/>
  <Override PartName="/ppt/tags/tag281.xml" ContentType="application/vnd.openxmlformats-officedocument.presentationml.tags+xml"/>
  <Override PartName="/ppt/notesSlides/notesSlide111.xml" ContentType="application/vnd.openxmlformats-officedocument.presentationml.notesSlide+xml"/>
  <Override PartName="/ppt/charts/chart305.xml" ContentType="application/vnd.openxmlformats-officedocument.drawingml.chart+xml"/>
  <Override PartName="/ppt/charts/style135.xml" ContentType="application/vnd.ms-office.chartstyle+xml"/>
  <Override PartName="/ppt/charts/colors135.xml" ContentType="application/vnd.ms-office.chartcolorstyle+xml"/>
  <Override PartName="/ppt/tags/tag282.xml" ContentType="application/vnd.openxmlformats-officedocument.presentationml.tags+xml"/>
  <Override PartName="/ppt/notesSlides/notesSlide112.xml" ContentType="application/vnd.openxmlformats-officedocument.presentationml.notesSlide+xml"/>
  <Override PartName="/ppt/charts/chart306.xml" ContentType="application/vnd.openxmlformats-officedocument.drawingml.chart+xml"/>
  <Override PartName="/ppt/charts/style136.xml" ContentType="application/vnd.ms-office.chartstyle+xml"/>
  <Override PartName="/ppt/charts/colors136.xml" ContentType="application/vnd.ms-office.chartcolorstyle+xml"/>
  <Override PartName="/ppt/tags/tag283.xml" ContentType="application/vnd.openxmlformats-officedocument.presentationml.tags+xml"/>
  <Override PartName="/ppt/notesSlides/notesSlide113.xml" ContentType="application/vnd.openxmlformats-officedocument.presentationml.notesSlide+xml"/>
  <Override PartName="/ppt/charts/chart307.xml" ContentType="application/vnd.openxmlformats-officedocument.drawingml.chart+xml"/>
  <Override PartName="/ppt/charts/style137.xml" ContentType="application/vnd.ms-office.chartstyle+xml"/>
  <Override PartName="/ppt/charts/colors137.xml" ContentType="application/vnd.ms-office.chartcolorstyle+xml"/>
  <Override PartName="/ppt/tags/tag284.xml" ContentType="application/vnd.openxmlformats-officedocument.presentationml.tags+xml"/>
  <Override PartName="/ppt/notesSlides/notesSlide114.xml" ContentType="application/vnd.openxmlformats-officedocument.presentationml.notesSlide+xml"/>
  <Override PartName="/ppt/charts/chart308.xml" ContentType="application/vnd.openxmlformats-officedocument.drawingml.chart+xml"/>
  <Override PartName="/ppt/charts/style138.xml" ContentType="application/vnd.ms-office.chartstyle+xml"/>
  <Override PartName="/ppt/charts/colors138.xml" ContentType="application/vnd.ms-office.chartcolorstyle+xml"/>
  <Override PartName="/ppt/tags/tag285.xml" ContentType="application/vnd.openxmlformats-officedocument.presentationml.tags+xml"/>
  <Override PartName="/ppt/charts/chart309.xml" ContentType="application/vnd.openxmlformats-officedocument.drawingml.chart+xml"/>
  <Override PartName="/ppt/tags/tag286.xml" ContentType="application/vnd.openxmlformats-officedocument.presentationml.tags+xml"/>
  <Override PartName="/ppt/charts/chart310.xml" ContentType="application/vnd.openxmlformats-officedocument.drawingml.chart+xml"/>
  <Override PartName="/ppt/tags/tag287.xml" ContentType="application/vnd.openxmlformats-officedocument.presentationml.tags+xml"/>
  <Override PartName="/ppt/charts/chart311.xml" ContentType="application/vnd.openxmlformats-officedocument.drawingml.chart+xml"/>
  <Override PartName="/ppt/tags/tag288.xml" ContentType="application/vnd.openxmlformats-officedocument.presentationml.tags+xml"/>
  <Override PartName="/ppt/charts/chart312.xml" ContentType="application/vnd.openxmlformats-officedocument.drawingml.chart+xml"/>
  <Override PartName="/ppt/tags/tag289.xml" ContentType="application/vnd.openxmlformats-officedocument.presentationml.tags+xml"/>
  <Override PartName="/ppt/charts/chart313.xml" ContentType="application/vnd.openxmlformats-officedocument.drawingml.chart+xml"/>
  <Override PartName="/ppt/tags/tag290.xml" ContentType="application/vnd.openxmlformats-officedocument.presentationml.tags+xml"/>
  <Override PartName="/ppt/charts/chart314.xml" ContentType="application/vnd.openxmlformats-officedocument.drawingml.chart+xml"/>
  <Override PartName="/ppt/tags/tag291.xml" ContentType="application/vnd.openxmlformats-officedocument.presentationml.tags+xml"/>
  <Override PartName="/ppt/charts/chart315.xml" ContentType="application/vnd.openxmlformats-officedocument.drawingml.chart+xml"/>
  <Override PartName="/ppt/tags/tag292.xml" ContentType="application/vnd.openxmlformats-officedocument.presentationml.tags+xml"/>
  <Override PartName="/ppt/charts/chart316.xml" ContentType="application/vnd.openxmlformats-officedocument.drawingml.chart+xml"/>
  <Override PartName="/ppt/tags/tag293.xml" ContentType="application/vnd.openxmlformats-officedocument.presentationml.tags+xml"/>
  <Override PartName="/ppt/charts/chart317.xml" ContentType="application/vnd.openxmlformats-officedocument.drawingml.chart+xml"/>
  <Override PartName="/ppt/tags/tag294.xml" ContentType="application/vnd.openxmlformats-officedocument.presentationml.tags+xml"/>
  <Override PartName="/ppt/charts/chart318.xml" ContentType="application/vnd.openxmlformats-officedocument.drawingml.chart+xml"/>
  <Override PartName="/ppt/tags/tag295.xml" ContentType="application/vnd.openxmlformats-officedocument.presentationml.tags+xml"/>
  <Override PartName="/ppt/charts/chart319.xml" ContentType="application/vnd.openxmlformats-officedocument.drawingml.chart+xml"/>
  <Override PartName="/ppt/tags/tag296.xml" ContentType="application/vnd.openxmlformats-officedocument.presentationml.tags+xml"/>
  <Override PartName="/ppt/charts/chart320.xml" ContentType="application/vnd.openxmlformats-officedocument.drawingml.chart+xml"/>
  <Override PartName="/ppt/tags/tag297.xml" ContentType="application/vnd.openxmlformats-officedocument.presentationml.tags+xml"/>
  <Override PartName="/ppt/notesSlides/notesSlide115.xml" ContentType="application/vnd.openxmlformats-officedocument.presentationml.notesSlide+xml"/>
  <Override PartName="/ppt/charts/chart321.xml" ContentType="application/vnd.openxmlformats-officedocument.drawingml.chart+xml"/>
  <Override PartName="/ppt/charts/style139.xml" ContentType="application/vnd.ms-office.chartstyle+xml"/>
  <Override PartName="/ppt/charts/colors139.xml" ContentType="application/vnd.ms-office.chartcolorstyle+xml"/>
  <Override PartName="/ppt/tags/tag298.xml" ContentType="application/vnd.openxmlformats-officedocument.presentationml.tags+xml"/>
  <Override PartName="/ppt/notesSlides/notesSlide116.xml" ContentType="application/vnd.openxmlformats-officedocument.presentationml.notesSlide+xml"/>
  <Override PartName="/ppt/charts/chart322.xml" ContentType="application/vnd.openxmlformats-officedocument.drawingml.chart+xml"/>
  <Override PartName="/ppt/charts/style140.xml" ContentType="application/vnd.ms-office.chartstyle+xml"/>
  <Override PartName="/ppt/charts/colors140.xml" ContentType="application/vnd.ms-office.chartcolorstyle+xml"/>
  <Override PartName="/ppt/tags/tag299.xml" ContentType="application/vnd.openxmlformats-officedocument.presentationml.tags+xml"/>
  <Override PartName="/ppt/notesSlides/notesSlide117.xml" ContentType="application/vnd.openxmlformats-officedocument.presentationml.notesSlide+xml"/>
  <Override PartName="/ppt/charts/chart323.xml" ContentType="application/vnd.openxmlformats-officedocument.drawingml.chart+xml"/>
  <Override PartName="/ppt/charts/style141.xml" ContentType="application/vnd.ms-office.chartstyle+xml"/>
  <Override PartName="/ppt/charts/colors141.xml" ContentType="application/vnd.ms-office.chartcolorstyle+xml"/>
  <Override PartName="/ppt/tags/tag300.xml" ContentType="application/vnd.openxmlformats-officedocument.presentationml.tags+xml"/>
  <Override PartName="/ppt/notesSlides/notesSlide118.xml" ContentType="application/vnd.openxmlformats-officedocument.presentationml.notesSlide+xml"/>
  <Override PartName="/ppt/charts/chart324.xml" ContentType="application/vnd.openxmlformats-officedocument.drawingml.chart+xml"/>
  <Override PartName="/ppt/charts/style142.xml" ContentType="application/vnd.ms-office.chartstyle+xml"/>
  <Override PartName="/ppt/charts/colors142.xml" ContentType="application/vnd.ms-office.chartcolorstyle+xml"/>
  <Override PartName="/ppt/tags/tag301.xml" ContentType="application/vnd.openxmlformats-officedocument.presentationml.tags+xml"/>
  <Override PartName="/ppt/notesSlides/notesSlide119.xml" ContentType="application/vnd.openxmlformats-officedocument.presentationml.notesSlide+xml"/>
  <Override PartName="/ppt/charts/chart325.xml" ContentType="application/vnd.openxmlformats-officedocument.drawingml.chart+xml"/>
  <Override PartName="/ppt/charts/style143.xml" ContentType="application/vnd.ms-office.chartstyle+xml"/>
  <Override PartName="/ppt/charts/colors143.xml" ContentType="application/vnd.ms-office.chartcolorstyle+xml"/>
  <Override PartName="/ppt/tags/tag302.xml" ContentType="application/vnd.openxmlformats-officedocument.presentationml.tags+xml"/>
  <Override PartName="/ppt/notesSlides/notesSlide120.xml" ContentType="application/vnd.openxmlformats-officedocument.presentationml.notesSlide+xml"/>
  <Override PartName="/ppt/charts/chart326.xml" ContentType="application/vnd.openxmlformats-officedocument.drawingml.chart+xml"/>
  <Override PartName="/ppt/charts/style144.xml" ContentType="application/vnd.ms-office.chartstyle+xml"/>
  <Override PartName="/ppt/charts/colors144.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280"/>
  </p:notesMasterIdLst>
  <p:sldIdLst>
    <p:sldId id="2147475194" r:id="rId5"/>
    <p:sldId id="2147475195" r:id="rId6"/>
    <p:sldId id="2147475196" r:id="rId7"/>
    <p:sldId id="2147475197" r:id="rId8"/>
    <p:sldId id="2147475198" r:id="rId9"/>
    <p:sldId id="2147475199" r:id="rId10"/>
    <p:sldId id="2147475200" r:id="rId11"/>
    <p:sldId id="2147475201" r:id="rId12"/>
    <p:sldId id="2147475202" r:id="rId13"/>
    <p:sldId id="2147475203" r:id="rId14"/>
    <p:sldId id="2147475204" r:id="rId15"/>
    <p:sldId id="2147475205" r:id="rId16"/>
    <p:sldId id="2147475206" r:id="rId17"/>
    <p:sldId id="2147475207" r:id="rId18"/>
    <p:sldId id="2147475208" r:id="rId19"/>
    <p:sldId id="2147475209" r:id="rId20"/>
    <p:sldId id="2147475210" r:id="rId21"/>
    <p:sldId id="2147475211" r:id="rId22"/>
    <p:sldId id="2147475212" r:id="rId23"/>
    <p:sldId id="2147475213" r:id="rId24"/>
    <p:sldId id="2147475214" r:id="rId25"/>
    <p:sldId id="2147475215" r:id="rId26"/>
    <p:sldId id="2147475216" r:id="rId27"/>
    <p:sldId id="2147475217" r:id="rId28"/>
    <p:sldId id="2147475218" r:id="rId29"/>
    <p:sldId id="2147475219" r:id="rId30"/>
    <p:sldId id="2147475220" r:id="rId31"/>
    <p:sldId id="2147475221" r:id="rId32"/>
    <p:sldId id="2147475222" r:id="rId33"/>
    <p:sldId id="2147475223" r:id="rId34"/>
    <p:sldId id="2147475224" r:id="rId35"/>
    <p:sldId id="2147475225" r:id="rId36"/>
    <p:sldId id="2147475226" r:id="rId37"/>
    <p:sldId id="2147475227" r:id="rId38"/>
    <p:sldId id="2147475228" r:id="rId39"/>
    <p:sldId id="2147475229" r:id="rId40"/>
    <p:sldId id="2147475230" r:id="rId41"/>
    <p:sldId id="2147475231" r:id="rId42"/>
    <p:sldId id="2147475232" r:id="rId43"/>
    <p:sldId id="2147475233" r:id="rId44"/>
    <p:sldId id="2147475234" r:id="rId45"/>
    <p:sldId id="2147475235" r:id="rId46"/>
    <p:sldId id="2147475236" r:id="rId47"/>
    <p:sldId id="2147475237" r:id="rId48"/>
    <p:sldId id="2147475238" r:id="rId49"/>
    <p:sldId id="2147475239" r:id="rId50"/>
    <p:sldId id="2147475240" r:id="rId51"/>
    <p:sldId id="2147475241" r:id="rId52"/>
    <p:sldId id="2147475242" r:id="rId53"/>
    <p:sldId id="2147475243" r:id="rId54"/>
    <p:sldId id="2147475244" r:id="rId55"/>
    <p:sldId id="2147475245" r:id="rId56"/>
    <p:sldId id="2147475246" r:id="rId57"/>
    <p:sldId id="2147475247" r:id="rId58"/>
    <p:sldId id="2147475248" r:id="rId59"/>
    <p:sldId id="2147475249" r:id="rId60"/>
    <p:sldId id="2147475250" r:id="rId61"/>
    <p:sldId id="2147475251" r:id="rId62"/>
    <p:sldId id="2147475252" r:id="rId63"/>
    <p:sldId id="2147475253" r:id="rId64"/>
    <p:sldId id="2147475254" r:id="rId65"/>
    <p:sldId id="2147475255" r:id="rId66"/>
    <p:sldId id="2147475256" r:id="rId67"/>
    <p:sldId id="2147475257" r:id="rId68"/>
    <p:sldId id="2147475258" r:id="rId69"/>
    <p:sldId id="2147475259" r:id="rId70"/>
    <p:sldId id="2147475260" r:id="rId71"/>
    <p:sldId id="2147475261" r:id="rId72"/>
    <p:sldId id="2147475262" r:id="rId73"/>
    <p:sldId id="2147475263" r:id="rId74"/>
    <p:sldId id="2147475264" r:id="rId75"/>
    <p:sldId id="2147475265" r:id="rId76"/>
    <p:sldId id="2147475266" r:id="rId77"/>
    <p:sldId id="2147475267" r:id="rId78"/>
    <p:sldId id="2147475268" r:id="rId79"/>
    <p:sldId id="2147475269" r:id="rId80"/>
    <p:sldId id="2147475270" r:id="rId81"/>
    <p:sldId id="2147475271" r:id="rId82"/>
    <p:sldId id="2147475272" r:id="rId83"/>
    <p:sldId id="2147475273" r:id="rId84"/>
    <p:sldId id="2147475274" r:id="rId85"/>
    <p:sldId id="2147475275" r:id="rId86"/>
    <p:sldId id="2147475276" r:id="rId87"/>
    <p:sldId id="2147475277" r:id="rId88"/>
    <p:sldId id="2147475278" r:id="rId89"/>
    <p:sldId id="2147475279" r:id="rId90"/>
    <p:sldId id="2147475280" r:id="rId91"/>
    <p:sldId id="2147475281" r:id="rId92"/>
    <p:sldId id="2147475282" r:id="rId93"/>
    <p:sldId id="2147475283" r:id="rId94"/>
    <p:sldId id="2147475284" r:id="rId95"/>
    <p:sldId id="2147475285" r:id="rId96"/>
    <p:sldId id="2147475286" r:id="rId97"/>
    <p:sldId id="2147475287" r:id="rId98"/>
    <p:sldId id="2147475288" r:id="rId99"/>
    <p:sldId id="2147475289" r:id="rId100"/>
    <p:sldId id="2147475290" r:id="rId101"/>
    <p:sldId id="2147475291" r:id="rId102"/>
    <p:sldId id="2147475292" r:id="rId103"/>
    <p:sldId id="2147475293" r:id="rId104"/>
    <p:sldId id="2147475294" r:id="rId105"/>
    <p:sldId id="2147475295" r:id="rId106"/>
    <p:sldId id="2147475296" r:id="rId107"/>
    <p:sldId id="2147475297" r:id="rId108"/>
    <p:sldId id="2147475298" r:id="rId109"/>
    <p:sldId id="2147475299" r:id="rId110"/>
    <p:sldId id="2147475300" r:id="rId111"/>
    <p:sldId id="2147475301" r:id="rId112"/>
    <p:sldId id="2147475302" r:id="rId113"/>
    <p:sldId id="2147475303" r:id="rId114"/>
    <p:sldId id="2147475304" r:id="rId115"/>
    <p:sldId id="2147475305" r:id="rId116"/>
    <p:sldId id="2147475306" r:id="rId117"/>
    <p:sldId id="2147475307" r:id="rId118"/>
    <p:sldId id="2147475308" r:id="rId119"/>
    <p:sldId id="2147475309" r:id="rId120"/>
    <p:sldId id="2147475310" r:id="rId121"/>
    <p:sldId id="2147475311" r:id="rId122"/>
    <p:sldId id="2147475312" r:id="rId123"/>
    <p:sldId id="2147475313" r:id="rId124"/>
    <p:sldId id="2147475314" r:id="rId125"/>
    <p:sldId id="2147475315" r:id="rId126"/>
    <p:sldId id="2147475316" r:id="rId127"/>
    <p:sldId id="2147475317" r:id="rId128"/>
    <p:sldId id="2147475318" r:id="rId129"/>
    <p:sldId id="2147475319" r:id="rId130"/>
    <p:sldId id="2147475320" r:id="rId131"/>
    <p:sldId id="2147475321" r:id="rId132"/>
    <p:sldId id="2147475322" r:id="rId133"/>
    <p:sldId id="2147475323" r:id="rId134"/>
    <p:sldId id="2147475324" r:id="rId135"/>
    <p:sldId id="2147475325" r:id="rId136"/>
    <p:sldId id="2147475326" r:id="rId137"/>
    <p:sldId id="2147475327" r:id="rId138"/>
    <p:sldId id="2147475328" r:id="rId139"/>
    <p:sldId id="2147475329" r:id="rId140"/>
    <p:sldId id="2147475330" r:id="rId141"/>
    <p:sldId id="2147475331" r:id="rId142"/>
    <p:sldId id="2147475332" r:id="rId143"/>
    <p:sldId id="2147475333" r:id="rId144"/>
    <p:sldId id="2147475334" r:id="rId145"/>
    <p:sldId id="2147475335" r:id="rId146"/>
    <p:sldId id="2147475336" r:id="rId147"/>
    <p:sldId id="2147475337" r:id="rId148"/>
    <p:sldId id="2147475338" r:id="rId149"/>
    <p:sldId id="2147475339" r:id="rId150"/>
    <p:sldId id="2147475340" r:id="rId151"/>
    <p:sldId id="2147475341" r:id="rId152"/>
    <p:sldId id="2147475342" r:id="rId153"/>
    <p:sldId id="2147475343" r:id="rId154"/>
    <p:sldId id="2147475344" r:id="rId155"/>
    <p:sldId id="2147475345" r:id="rId156"/>
    <p:sldId id="2147475346" r:id="rId157"/>
    <p:sldId id="2147475347" r:id="rId158"/>
    <p:sldId id="2147475348" r:id="rId159"/>
    <p:sldId id="2147475349" r:id="rId160"/>
    <p:sldId id="2147475350" r:id="rId161"/>
    <p:sldId id="2147475351" r:id="rId162"/>
    <p:sldId id="2147475352" r:id="rId163"/>
    <p:sldId id="2147475353" r:id="rId164"/>
    <p:sldId id="2147475354" r:id="rId165"/>
    <p:sldId id="2147475355" r:id="rId166"/>
    <p:sldId id="2147475356" r:id="rId167"/>
    <p:sldId id="2147475357" r:id="rId168"/>
    <p:sldId id="2147475358" r:id="rId169"/>
    <p:sldId id="2147475359" r:id="rId170"/>
    <p:sldId id="2147475360" r:id="rId171"/>
    <p:sldId id="2147475361" r:id="rId172"/>
    <p:sldId id="2147475362" r:id="rId173"/>
    <p:sldId id="2147475363" r:id="rId174"/>
    <p:sldId id="2147475364" r:id="rId175"/>
    <p:sldId id="2147475365" r:id="rId176"/>
    <p:sldId id="2147475366" r:id="rId177"/>
    <p:sldId id="2147475367" r:id="rId178"/>
    <p:sldId id="2147475368" r:id="rId179"/>
    <p:sldId id="2147475369" r:id="rId180"/>
    <p:sldId id="2147475370" r:id="rId181"/>
    <p:sldId id="2147475371" r:id="rId182"/>
    <p:sldId id="2147475372" r:id="rId183"/>
    <p:sldId id="2147475373" r:id="rId184"/>
    <p:sldId id="2147475374" r:id="rId185"/>
    <p:sldId id="2147475375" r:id="rId186"/>
    <p:sldId id="2147475376" r:id="rId187"/>
    <p:sldId id="2147475377" r:id="rId188"/>
    <p:sldId id="2147475378" r:id="rId189"/>
    <p:sldId id="2147475379" r:id="rId190"/>
    <p:sldId id="2147475380" r:id="rId191"/>
    <p:sldId id="2147475381" r:id="rId192"/>
    <p:sldId id="2147475382" r:id="rId193"/>
    <p:sldId id="2147475383" r:id="rId194"/>
    <p:sldId id="2147475384" r:id="rId195"/>
    <p:sldId id="2147475385" r:id="rId196"/>
    <p:sldId id="2147475386" r:id="rId197"/>
    <p:sldId id="2147475387" r:id="rId198"/>
    <p:sldId id="2147475388" r:id="rId199"/>
    <p:sldId id="2147475389" r:id="rId200"/>
    <p:sldId id="2147475390" r:id="rId201"/>
    <p:sldId id="2147475391" r:id="rId202"/>
    <p:sldId id="2147475392" r:id="rId203"/>
    <p:sldId id="2147475393" r:id="rId204"/>
    <p:sldId id="2147475394" r:id="rId205"/>
    <p:sldId id="2147475395" r:id="rId206"/>
    <p:sldId id="2147475396" r:id="rId207"/>
    <p:sldId id="2147475397" r:id="rId208"/>
    <p:sldId id="2147475398" r:id="rId209"/>
    <p:sldId id="2147475399" r:id="rId210"/>
    <p:sldId id="2147475400" r:id="rId211"/>
    <p:sldId id="2147475401" r:id="rId212"/>
    <p:sldId id="2147475402" r:id="rId213"/>
    <p:sldId id="2147475403" r:id="rId214"/>
    <p:sldId id="2147475404" r:id="rId215"/>
    <p:sldId id="2147475405" r:id="rId216"/>
    <p:sldId id="2147475406" r:id="rId217"/>
    <p:sldId id="2147475407" r:id="rId218"/>
    <p:sldId id="2147475408" r:id="rId219"/>
    <p:sldId id="2147475409" r:id="rId220"/>
    <p:sldId id="2147475410" r:id="rId221"/>
    <p:sldId id="2147475411" r:id="rId222"/>
    <p:sldId id="2147475412" r:id="rId223"/>
    <p:sldId id="2147475413" r:id="rId224"/>
    <p:sldId id="2147475414" r:id="rId225"/>
    <p:sldId id="2147475415" r:id="rId226"/>
    <p:sldId id="2147475416" r:id="rId227"/>
    <p:sldId id="2147475417" r:id="rId228"/>
    <p:sldId id="2147475418" r:id="rId229"/>
    <p:sldId id="2147475419" r:id="rId230"/>
    <p:sldId id="2147475420" r:id="rId231"/>
    <p:sldId id="2147475421" r:id="rId232"/>
    <p:sldId id="2147475422" r:id="rId233"/>
    <p:sldId id="2147475423" r:id="rId234"/>
    <p:sldId id="2147475424" r:id="rId235"/>
    <p:sldId id="2147475425" r:id="rId236"/>
    <p:sldId id="2147475426" r:id="rId237"/>
    <p:sldId id="2147475427" r:id="rId238"/>
    <p:sldId id="2147475428" r:id="rId239"/>
    <p:sldId id="2147475429" r:id="rId240"/>
    <p:sldId id="2147475430" r:id="rId241"/>
    <p:sldId id="2147475431" r:id="rId242"/>
    <p:sldId id="2147475432" r:id="rId243"/>
    <p:sldId id="2147475433" r:id="rId244"/>
    <p:sldId id="2147475434" r:id="rId245"/>
    <p:sldId id="2147475435" r:id="rId246"/>
    <p:sldId id="2147475436" r:id="rId247"/>
    <p:sldId id="2147475437" r:id="rId248"/>
    <p:sldId id="2147475438" r:id="rId249"/>
    <p:sldId id="2147475439" r:id="rId250"/>
    <p:sldId id="2147475440" r:id="rId251"/>
    <p:sldId id="2147475441" r:id="rId252"/>
    <p:sldId id="2147475442" r:id="rId253"/>
    <p:sldId id="2147475443" r:id="rId254"/>
    <p:sldId id="2147475444" r:id="rId255"/>
    <p:sldId id="2147475445" r:id="rId256"/>
    <p:sldId id="2147475446" r:id="rId257"/>
    <p:sldId id="2147475447" r:id="rId258"/>
    <p:sldId id="2147475448" r:id="rId259"/>
    <p:sldId id="2147475449" r:id="rId260"/>
    <p:sldId id="2147475450" r:id="rId261"/>
    <p:sldId id="2147475451" r:id="rId262"/>
    <p:sldId id="2147475452" r:id="rId263"/>
    <p:sldId id="2147475453" r:id="rId264"/>
    <p:sldId id="2147475454" r:id="rId265"/>
    <p:sldId id="2147475455" r:id="rId266"/>
    <p:sldId id="2147475456" r:id="rId267"/>
    <p:sldId id="2147475457" r:id="rId268"/>
    <p:sldId id="2147475458" r:id="rId269"/>
    <p:sldId id="2147475459" r:id="rId270"/>
    <p:sldId id="2147475460" r:id="rId271"/>
    <p:sldId id="2147475461" r:id="rId272"/>
    <p:sldId id="2147475462" r:id="rId273"/>
    <p:sldId id="2147475463" r:id="rId274"/>
    <p:sldId id="2147475464" r:id="rId275"/>
    <p:sldId id="2147475465" r:id="rId276"/>
    <p:sldId id="2147475466" r:id="rId277"/>
    <p:sldId id="2147475467" r:id="rId278"/>
    <p:sldId id="2147475468" r:id="rId27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omo Evolution Category" id="{5612CC03-CF3E-4368-B5BB-45EEA7441B97}">
          <p14:sldIdLst>
            <p14:sldId id="2147475194"/>
            <p14:sldId id="2147475195"/>
          </p14:sldIdLst>
        </p14:section>
        <p14:section name="Promo Evolution Sector" id="{F8FA4009-0605-498B-83BF-B025A2F2FC6F}">
          <p14:sldIdLst>
            <p14:sldId id="2147475196"/>
            <p14:sldId id="2147475197"/>
            <p14:sldId id="2147475198"/>
            <p14:sldId id="2147475199"/>
          </p14:sldIdLst>
        </p14:section>
        <p14:section name="Promo Evolution Segment" id="{F7A24CEC-99BA-4A57-A9BF-32012207BC89}">
          <p14:sldIdLst>
            <p14:sldId id="2147475200"/>
            <p14:sldId id="2147475201"/>
            <p14:sldId id="2147475202"/>
            <p14:sldId id="2147475203"/>
            <p14:sldId id="2147475204"/>
            <p14:sldId id="2147475205"/>
          </p14:sldIdLst>
        </p14:section>
        <p14:section name="VSOD Summary by Sector Sector" id="{DA04FFF0-3647-4441-B995-0BFAF4550885}">
          <p14:sldIdLst>
            <p14:sldId id="2147475206"/>
            <p14:sldId id="2147475207"/>
          </p14:sldIdLst>
        </p14:section>
        <p14:section name="VSOD Summary by Sector Segment" id="{7D7818D2-F7E8-4E73-BA64-D11B6D376146}">
          <p14:sldIdLst>
            <p14:sldId id="2147475208"/>
            <p14:sldId id="2147475209"/>
          </p14:sldIdLst>
        </p14:section>
        <p14:section name="Value uplift by retailer by brand Category" id="{85B7CA48-4317-48C0-8765-972DECE62F3A}">
          <p14:sldIdLst>
            <p14:sldId id="2147475210"/>
          </p14:sldIdLst>
        </p14:section>
        <p14:section name="Value uplift by retailer by brand Sector" id="{2F64294E-BC09-4016-9FDB-C6F76758F273}">
          <p14:sldIdLst>
            <p14:sldId id="2147475211"/>
            <p14:sldId id="2147475212"/>
          </p14:sldIdLst>
        </p14:section>
        <p14:section name="Value uplift by retailer by brand Segment" id="{6B3E0AFC-07EF-46BA-ADB4-6CB53ADD41DD}">
          <p14:sldIdLst>
            <p14:sldId id="2147475213"/>
            <p14:sldId id="2147475214"/>
            <p14:sldId id="2147475215"/>
          </p14:sldIdLst>
        </p14:section>
        <p14:section name="Volume Uplift vs discount depth Category" id="{5AA759ED-C80D-4A4C-85CF-1D20B33A2FDA}">
          <p14:sldIdLst>
            <p14:sldId id="2147475216"/>
            <p14:sldId id="2147475217"/>
          </p14:sldIdLst>
        </p14:section>
        <p14:section name="Volume Uplift vs discount depth Sector" id="{8DA8A125-3056-47A2-9F22-42E5EEFEE6BD}">
          <p14:sldIdLst>
            <p14:sldId id="2147475218"/>
            <p14:sldId id="2147475219"/>
            <p14:sldId id="2147475220"/>
            <p14:sldId id="2147475221"/>
          </p14:sldIdLst>
        </p14:section>
        <p14:section name="Volume Uplift vs discount depth Segment" id="{4E7FBE73-5A83-4FB4-B5E7-54B8FB8FDA48}">
          <p14:sldIdLst>
            <p14:sldId id="2147475222"/>
            <p14:sldId id="2147475223"/>
            <p14:sldId id="2147475224"/>
            <p14:sldId id="2147475225"/>
            <p14:sldId id="2147475226"/>
            <p14:sldId id="2147475227"/>
          </p14:sldIdLst>
        </p14:section>
        <p14:section name="Value Uplift vs Promo Efficiency Quadrant Category" id="{69EAD527-A4CA-427C-A4FF-8CF44CDBCD21}">
          <p14:sldIdLst>
            <p14:sldId id="2147475228"/>
            <p14:sldId id="2147475229"/>
          </p14:sldIdLst>
        </p14:section>
        <p14:section name="Value Uplift vs Promo Efficiency Quadrant Sector" id="{61CAD951-69E2-42ED-B4D0-503F54A8F819}">
          <p14:sldIdLst>
            <p14:sldId id="2147475230"/>
            <p14:sldId id="2147475231"/>
            <p14:sldId id="2147475232"/>
            <p14:sldId id="2147475233"/>
          </p14:sldIdLst>
        </p14:section>
        <p14:section name="Value Uplift vs Promo Efficiency Quadrant Segment" id="{456053AD-3C0E-44FD-9038-291299DAB201}">
          <p14:sldIdLst>
            <p14:sldId id="2147475234"/>
            <p14:sldId id="2147475235"/>
            <p14:sldId id="2147475236"/>
            <p14:sldId id="2147475237"/>
            <p14:sldId id="2147475238"/>
            <p14:sldId id="2147475239"/>
          </p14:sldIdLst>
        </p14:section>
        <p14:section name="Top 20 promotions Category" id="{76BCD128-DD0F-48F5-8CBA-FBCFAD379BAD}">
          <p14:sldIdLst>
            <p14:sldId id="2147475240"/>
            <p14:sldId id="2147475241"/>
          </p14:sldIdLst>
        </p14:section>
        <p14:section name="Top 20 promotions Sector" id="{CD56F809-A8A5-491D-A5E7-DA0EF3DE5CAE}">
          <p14:sldIdLst>
            <p14:sldId id="2147475242"/>
            <p14:sldId id="2147475243"/>
            <p14:sldId id="2147475244"/>
            <p14:sldId id="2147475245"/>
          </p14:sldIdLst>
        </p14:section>
        <p14:section name="Top 20 promotions Segment" id="{D5DD4E6B-18B3-4AF0-85A3-94564B9D3AB0}">
          <p14:sldIdLst>
            <p14:sldId id="2147475246"/>
            <p14:sldId id="2147475247"/>
            <p14:sldId id="2147475248"/>
            <p14:sldId id="2147475249"/>
            <p14:sldId id="2147475250"/>
            <p14:sldId id="2147475251"/>
          </p14:sldIdLst>
        </p14:section>
        <p14:section name="Top 20 promotions CLIENT ONLY Category" id="{D015AB74-9AE8-4406-9638-7A6ECD0EB110}">
          <p14:sldIdLst>
            <p14:sldId id="2147475252"/>
            <p14:sldId id="2147475253"/>
          </p14:sldIdLst>
        </p14:section>
        <p14:section name="Top 20 promotions CLIENT ONLY Sector" id="{51F756C7-4AE3-43C9-956F-B8F139286FF0}">
          <p14:sldIdLst>
            <p14:sldId id="2147475254"/>
            <p14:sldId id="2147475255"/>
            <p14:sldId id="2147475256"/>
            <p14:sldId id="2147475257"/>
          </p14:sldIdLst>
        </p14:section>
        <p14:section name="Top 20 promotions CLIENT ONLY Segment" id="{C24633F8-F739-4C68-AFDD-9FCF7F6595BD}">
          <p14:sldIdLst>
            <p14:sldId id="2147475258"/>
            <p14:sldId id="2147475259"/>
            <p14:sldId id="2147475260"/>
            <p14:sldId id="2147475261"/>
            <p14:sldId id="2147475262"/>
          </p14:sldIdLst>
        </p14:section>
        <p14:section name="Bottom 20 promotions CLIENT ONLY Category" id="{7F7F9433-914A-4EE9-859B-5DE16D83D66B}">
          <p14:sldIdLst>
            <p14:sldId id="2147475263"/>
            <p14:sldId id="2147475264"/>
          </p14:sldIdLst>
        </p14:section>
        <p14:section name="Bottom 20 promotions CLIENT ONLY Sector" id="{D0891D44-FF0F-4310-965A-AC379A01532D}">
          <p14:sldIdLst>
            <p14:sldId id="2147475265"/>
            <p14:sldId id="2147475266"/>
            <p14:sldId id="2147475267"/>
            <p14:sldId id="2147475268"/>
          </p14:sldIdLst>
        </p14:section>
        <p14:section name="Bottom 20 promotions CLIENT ONLY Segment" id="{5AC6A123-2D2E-4BD8-89DA-2CD929202E87}">
          <p14:sldIdLst>
            <p14:sldId id="2147475269"/>
            <p14:sldId id="2147475270"/>
            <p14:sldId id="2147475271"/>
            <p14:sldId id="2147475272"/>
            <p14:sldId id="2147475273"/>
          </p14:sldIdLst>
        </p14:section>
        <p14:section name="Volume Sold on Deal Sector" id="{D00102AE-9E03-4F89-A2A0-CECCB1BCD85E}">
          <p14:sldIdLst>
            <p14:sldId id="2147475274"/>
            <p14:sldId id="2147475275"/>
            <p14:sldId id="2147475276"/>
            <p14:sldId id="2147475277"/>
            <p14:sldId id="2147475278"/>
            <p14:sldId id="2147475279"/>
            <p14:sldId id="2147475280"/>
          </p14:sldIdLst>
        </p14:section>
        <p14:section name="Volume Sold on Deal Segment" id="{E5F814CF-4001-4698-89A2-3813E78786AC}">
          <p14:sldIdLst>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Lst>
        </p14:section>
        <p14:section name="Promo share vs Value Share Category" id="{5593475A-B5F0-43E5-B88D-B174403297EC}">
          <p14:sldIdLst>
            <p14:sldId id="2147475295"/>
            <p14:sldId id="2147475296"/>
          </p14:sldIdLst>
        </p14:section>
        <p14:section name="Promo share vs Value Share Sector" id="{E02840E1-B160-4C78-A5A0-DBFBFA5DA6E7}">
          <p14:sldIdLst>
            <p14:sldId id="2147475297"/>
            <p14:sldId id="2147475298"/>
            <p14:sldId id="2147475299"/>
            <p14:sldId id="2147475300"/>
          </p14:sldIdLst>
        </p14:section>
        <p14:section name="Promo share vs Value Share Segment" id="{53CF8B5C-B8B7-4D98-A980-DD2C8D6966F6}">
          <p14:sldIdLst>
            <p14:sldId id="2147475301"/>
            <p14:sldId id="2147475302"/>
            <p14:sldId id="2147475303"/>
            <p14:sldId id="2147475304"/>
            <p14:sldId id="2147475305"/>
            <p14:sldId id="2147475306"/>
          </p14:sldIdLst>
        </p14:section>
        <p14:section name="Promo Sales by total size Category" id="{72CB6537-0601-4497-B906-3A192443C63F}">
          <p14:sldIdLst>
            <p14:sldId id="2147475307"/>
          </p14:sldIdLst>
        </p14:section>
        <p14:section name="Promo Sales by total size Sector" id="{A11E9565-036E-44BA-9FBC-2E5132CDD8EE}">
          <p14:sldIdLst>
            <p14:sldId id="2147475308"/>
            <p14:sldId id="2147475309"/>
          </p14:sldIdLst>
        </p14:section>
        <p14:section name="Promo Sales by total size Segment" id="{B90DABFC-2F93-402B-B662-1E9D59EA2AD8}">
          <p14:sldIdLst>
            <p14:sldId id="2147475310"/>
            <p14:sldId id="2147475311"/>
            <p14:sldId id="2147475312"/>
          </p14:sldIdLst>
        </p14:section>
        <p14:section name="Promo Sales by promo type Category" id="{0A94030E-27C9-4C52-9650-A0AAEA13D6E7}">
          <p14:sldIdLst>
            <p14:sldId id="2147475313"/>
            <p14:sldId id="2147475314"/>
          </p14:sldIdLst>
        </p14:section>
        <p14:section name="Promo Sales by promo type Sector" id="{92EE16FE-9E72-457E-B0DD-AEF60DCA9559}">
          <p14:sldIdLst>
            <p14:sldId id="2147475315"/>
            <p14:sldId id="2147475316"/>
            <p14:sldId id="2147475317"/>
            <p14:sldId id="2147475318"/>
          </p14:sldIdLst>
        </p14:section>
        <p14:section name="Promo Sales by promo type Segment" id="{C57410EF-AA64-4B33-A141-ED59E8E295E0}">
          <p14:sldIdLst>
            <p14:sldId id="2147475319"/>
            <p14:sldId id="2147475320"/>
            <p14:sldId id="2147475321"/>
            <p14:sldId id="2147475322"/>
            <p14:sldId id="2147475323"/>
          </p14:sldIdLst>
        </p14:section>
        <p14:section name="Promo Frequency learnings Category" id="{18CBCDD1-70F9-43D8-8F9E-19893226BD70}">
          <p14:sldIdLst>
            <p14:sldId id="2147475324"/>
            <p14:sldId id="2147475325"/>
            <p14:sldId id="2147475326"/>
            <p14:sldId id="2147475327"/>
            <p14:sldId id="2147475328"/>
            <p14:sldId id="2147475329"/>
            <p14:sldId id="2147475330"/>
          </p14:sldIdLst>
        </p14:section>
        <p14:section name="Promo Frequency learnings Sector" id="{DDC6B037-A0A5-47A7-BE17-B0ECE5413D72}">
          <p14:sldIdLst>
            <p14:sldId id="2147475331"/>
            <p14:sldId id="2147475332"/>
            <p14:sldId id="2147475333"/>
            <p14:sldId id="2147475334"/>
            <p14:sldId id="2147475335"/>
            <p14:sldId id="2147475336"/>
            <p14:sldId id="2147475337"/>
            <p14:sldId id="2147475338"/>
            <p14:sldId id="2147475339"/>
            <p14:sldId id="2147475340"/>
            <p14:sldId id="2147475341"/>
          </p14:sldIdLst>
        </p14:section>
        <p14:section name="Promo Frequency learnings Segment" id="{CFDF0D4C-627C-4908-9905-B1912B073BC1}">
          <p14:sldIdLst>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Lst>
        </p14:section>
        <p14:section name="Promo sales per retailer Category" id="{B8895F4E-0613-400B-BF0A-733993342EED}">
          <p14:sldIdLst>
            <p14:sldId id="2147475357"/>
            <p14:sldId id="2147475358"/>
            <p14:sldId id="2147475359"/>
            <p14:sldId id="2147475360"/>
          </p14:sldIdLst>
        </p14:section>
        <p14:section name="Promo sales per retailer Sector" id="{ADF359E5-2688-4121-82D3-5D3CF70744BD}">
          <p14:sldIdLst>
            <p14:sldId id="2147475361"/>
            <p14:sldId id="2147475362"/>
            <p14:sldId id="2147475363"/>
            <p14:sldId id="2147475364"/>
            <p14:sldId id="2147475365"/>
            <p14:sldId id="2147475366"/>
            <p14:sldId id="2147475367"/>
          </p14:sldIdLst>
        </p14:section>
        <p14:section name="Promo sales per retailer Segment" id="{217E4FC6-21FA-457B-A428-2D12A8C3A78E}">
          <p14:sldIdLst>
            <p14:sldId id="2147475368"/>
            <p14:sldId id="2147475369"/>
            <p14:sldId id="2147475370"/>
            <p14:sldId id="2147475371"/>
            <p14:sldId id="2147475372"/>
            <p14:sldId id="2147475373"/>
            <p14:sldId id="2147475374"/>
            <p14:sldId id="2147475375"/>
            <p14:sldId id="2147475376"/>
            <p14:sldId id="2147475377"/>
            <p14:sldId id="2147475378"/>
          </p14:sldIdLst>
        </p14:section>
        <p14:section name="Promo sales per retailer SubSegment" id="{E3C6CEE9-E5DE-4C85-AAE8-EE816FBC981D}">
          <p14:sldIdLst/>
        </p14:section>
        <p14:section name="Value Uplift vs discount depth Category" id="{BEE2C526-0319-4E28-8000-38E0E501A837}">
          <p14:sldIdLst>
            <p14:sldId id="2147475379"/>
            <p14:sldId id="2147475380"/>
            <p14:sldId id="2147475381"/>
            <p14:sldId id="2147475382"/>
            <p14:sldId id="2147475383"/>
          </p14:sldIdLst>
        </p14:section>
        <p14:section name="Value Uplift vs discount depth Sector" id="{886840CF-D974-4BC0-B4ED-3E2D96FD83B3}">
          <p14:sldIdLst>
            <p14:sldId id="2147475384"/>
            <p14:sldId id="2147475385"/>
            <p14:sldId id="2147475386"/>
            <p14:sldId id="2147475387"/>
            <p14:sldId id="2147475388"/>
            <p14:sldId id="2147475389"/>
            <p14:sldId id="2147475390"/>
          </p14:sldIdLst>
        </p14:section>
        <p14:section name="Value Uplift vs discount depth Segment" id="{434C5D31-4E7B-46C5-88A2-047D08BD3B13}">
          <p14:sldIdLst>
            <p14:sldId id="2147475391"/>
            <p14:sldId id="2147475392"/>
            <p14:sldId id="2147475393"/>
            <p14:sldId id="2147475394"/>
            <p14:sldId id="2147475395"/>
            <p14:sldId id="2147475396"/>
            <p14:sldId id="2147475397"/>
            <p14:sldId id="2147475398"/>
            <p14:sldId id="2147475399"/>
            <p14:sldId id="2147475400"/>
          </p14:sldIdLst>
        </p14:section>
        <p14:section name="Seasonality Index Category" id="{6FDF7BEC-21C4-4DEB-BFED-C02CDC3CBE0A}">
          <p14:sldIdLst>
            <p14:sldId id="2147475401"/>
            <p14:sldId id="2147475402"/>
          </p14:sldIdLst>
        </p14:section>
        <p14:section name="Seasonality Index Sector" id="{A68484A6-3B36-473F-860B-640B861D6E67}">
          <p14:sldIdLst>
            <p14:sldId id="2147475403"/>
            <p14:sldId id="2147475404"/>
          </p14:sldIdLst>
        </p14:section>
        <p14:section name="Seasonality Index Segment" id="{3311A26B-C740-4527-9E56-E8C9A78EAC7C}">
          <p14:sldIdLst>
            <p14:sldId id="2147475405"/>
            <p14:sldId id="2147475406"/>
            <p14:sldId id="2147475407"/>
            <p14:sldId id="2147475408"/>
          </p14:sldIdLst>
        </p14:section>
        <p14:section name="Seasonality Index Subsegment" id="{776B4899-390A-406A-A793-1B502C0D81DA}">
          <p14:sldIdLst/>
        </p14:section>
        <p14:section name="Promotional Frequency Analysis Category" id="{DE9E3214-3C2F-4FA4-B389-8D92374AC714}">
          <p14:sldIdLst>
            <p14:sldId id="2147475409"/>
            <p14:sldId id="2147475410"/>
            <p14:sldId id="2147475411"/>
          </p14:sldIdLst>
        </p14:section>
        <p14:section name="Promotional Frequency Analysis Sector" id="{C09AE3C5-8381-4B1B-99B6-356F078CB0A1}">
          <p14:sldIdLst>
            <p14:sldId id="2147475412"/>
            <p14:sldId id="2147475413"/>
            <p14:sldId id="2147475414"/>
            <p14:sldId id="2147475415"/>
            <p14:sldId id="2147475416"/>
            <p14:sldId id="2147475417"/>
            <p14:sldId id="2147475418"/>
          </p14:sldIdLst>
        </p14:section>
        <p14:section name="Promotional Frequency Analysis Segment" id="{0C310539-E140-46E7-9BCD-33C3E3FC1DD3}">
          <p14:sldIdLst>
            <p14:sldId id="2147475419"/>
            <p14:sldId id="2147475420"/>
            <p14:sldId id="2147475421"/>
            <p14:sldId id="2147475422"/>
            <p14:sldId id="2147475423"/>
            <p14:sldId id="2147475424"/>
            <p14:sldId id="2147475425"/>
            <p14:sldId id="2147475426"/>
            <p14:sldId id="2147475427"/>
            <p14:sldId id="2147475428"/>
          </p14:sldIdLst>
        </p14:section>
        <p14:section name="Promotional Frequency Analysis Subsegment" id="{33228A14-1979-450F-BD98-D061E10A90AB}">
          <p14:sldIdLst/>
        </p14:section>
        <p14:section name="Promo Evolution no client prio Category" id="{37BD695D-30B3-464F-8721-B39974FFFBA5}">
          <p14:sldIdLst>
            <p14:sldId id="2147475429"/>
            <p14:sldId id="2147475430"/>
          </p14:sldIdLst>
        </p14:section>
        <p14:section name="Promo Evolution no client prio Sector" id="{42F004C1-904D-47ED-B997-59EAF15947B2}">
          <p14:sldIdLst>
            <p14:sldId id="2147475431"/>
            <p14:sldId id="2147475432"/>
            <p14:sldId id="2147475433"/>
            <p14:sldId id="2147475434"/>
          </p14:sldIdLst>
        </p14:section>
        <p14:section name="Promo Evolution no client prio Segment" id="{6A2CB03E-C828-4032-89CA-C0832B3CD965}">
          <p14:sldIdLst>
            <p14:sldId id="2147475435"/>
            <p14:sldId id="2147475436"/>
            <p14:sldId id="2147475437"/>
            <p14:sldId id="2147475438"/>
            <p14:sldId id="2147475439"/>
            <p14:sldId id="2147475440"/>
          </p14:sldIdLst>
        </p14:section>
        <p14:section name="VSOD Summary by Sector no client prio Sector" id="{AB48B282-06AC-49C1-8146-3BF30E8B9001}">
          <p14:sldIdLst>
            <p14:sldId id="2147475441"/>
            <p14:sldId id="2147475442"/>
          </p14:sldIdLst>
        </p14:section>
        <p14:section name="VSOD Summary by Sector no client prio Segment" id="{42EA3F12-2B58-44C4-AD48-580DDA26826E}">
          <p14:sldIdLst>
            <p14:sldId id="2147475443"/>
            <p14:sldId id="2147475444"/>
          </p14:sldIdLst>
        </p14:section>
        <p14:section name="Value uplift by retailer by brand no client prio Category" id="{A3F55B46-B940-483E-B5B3-E560BC919303}">
          <p14:sldIdLst>
            <p14:sldId id="2147475445"/>
          </p14:sldIdLst>
        </p14:section>
        <p14:section name="Value uplift by retailer by brand no client prio Sector" id="{A354D095-E4C2-4B67-B0BA-8D6CED27BA92}">
          <p14:sldIdLst>
            <p14:sldId id="2147475446"/>
            <p14:sldId id="2147475447"/>
          </p14:sldIdLst>
        </p14:section>
        <p14:section name="Value uplift by retailer by brand no client prio Segment" id="{E9B4BF87-64B0-4136-A81E-E94C97039743}">
          <p14:sldIdLst>
            <p14:sldId id="2147475448"/>
            <p14:sldId id="2147475449"/>
            <p14:sldId id="2147475450"/>
          </p14:sldIdLst>
        </p14:section>
        <p14:section name="Promo share vs Value Share no client prio Category" id="{C92CD87F-76CA-40D0-93B8-15C91E006ACB}">
          <p14:sldIdLst>
            <p14:sldId id="2147475451"/>
            <p14:sldId id="2147475452"/>
          </p14:sldIdLst>
        </p14:section>
        <p14:section name="Promo share vs Value Share no client prio Sector" id="{BD9E4209-F46A-42DE-8A07-276D2404F1E6}">
          <p14:sldIdLst>
            <p14:sldId id="2147475453"/>
            <p14:sldId id="2147475454"/>
            <p14:sldId id="2147475455"/>
            <p14:sldId id="2147475456"/>
          </p14:sldIdLst>
        </p14:section>
        <p14:section name="Promo share vs Value Share no client prio Segment" id="{13F15454-948E-4940-9EF6-1FA4C02BF509}">
          <p14:sldIdLst>
            <p14:sldId id="2147475457"/>
            <p14:sldId id="2147475458"/>
            <p14:sldId id="2147475459"/>
            <p14:sldId id="2147475460"/>
            <p14:sldId id="2147475461"/>
            <p14:sldId id="2147475462"/>
          </p14:sldIdLst>
        </p14:section>
        <p14:section name="Promo Sales by total size no client prio Category" id="{E5C20A1C-53A6-40E3-8416-F9A7E3FC07DB}">
          <p14:sldIdLst>
            <p14:sldId id="2147475463"/>
          </p14:sldIdLst>
        </p14:section>
        <p14:section name="Promo Sales by total size no client prio Sector" id="{453BFE9C-30B2-485F-8741-C816464A9731}">
          <p14:sldIdLst>
            <p14:sldId id="2147475464"/>
            <p14:sldId id="2147475465"/>
          </p14:sldIdLst>
        </p14:section>
        <p14:section name="Promo Sales by total size no client prio Segment" id="{7EFE765C-899F-40D7-8824-59980D41DC3E}">
          <p14:sldIdLst>
            <p14:sldId id="2147475466"/>
            <p14:sldId id="2147475467"/>
            <p14:sldId id="214747546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85" d="100"/>
          <a:sy n="85" d="100"/>
        </p:scale>
        <p:origin x="990" y="84"/>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269" Type="http://schemas.openxmlformats.org/officeDocument/2006/relationships/slide" Target="slides/slide265.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280" Type="http://schemas.openxmlformats.org/officeDocument/2006/relationships/notesMaster" Target="notesMasters/notesMaster1.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presProps" Target="presProps.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viewProps" Target="viewProps.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theme" Target="theme/theme1.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tableStyles" Target="tableStyles.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microsoft.com/office/2015/10/relationships/revisionInfo" Target="revisionInfo.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microsoft.com/office/2018/10/relationships/authors" Target="authors.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20.xml"/><Relationship Id="rId1" Type="http://schemas.microsoft.com/office/2011/relationships/chartStyle" Target="style2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21.xml"/><Relationship Id="rId1" Type="http://schemas.microsoft.com/office/2011/relationships/chartStyle" Target="style2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22.xml"/><Relationship Id="rId1" Type="http://schemas.microsoft.com/office/2011/relationships/chartStyle" Target="style2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23.xml"/><Relationship Id="rId1" Type="http://schemas.microsoft.com/office/2011/relationships/chartStyle" Target="style2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24.xml"/><Relationship Id="rId1" Type="http://schemas.microsoft.com/office/2011/relationships/chartStyle" Target="style2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25.xml"/><Relationship Id="rId1" Type="http://schemas.microsoft.com/office/2011/relationships/chartStyle" Target="style2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26.xml"/><Relationship Id="rId1" Type="http://schemas.microsoft.com/office/2011/relationships/chartStyle" Target="style2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27.xml"/><Relationship Id="rId1" Type="http://schemas.microsoft.com/office/2011/relationships/chartStyle" Target="style27.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28.xml"/><Relationship Id="rId1" Type="http://schemas.microsoft.com/office/2011/relationships/chartStyle" Target="style28.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29.xml"/><Relationship Id="rId1" Type="http://schemas.microsoft.com/office/2011/relationships/chartStyle" Target="style29.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30.xml"/><Relationship Id="rId1" Type="http://schemas.microsoft.com/office/2011/relationships/chartStyle" Target="style30.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31.xml"/><Relationship Id="rId1" Type="http://schemas.microsoft.com/office/2011/relationships/chartStyle" Target="style31.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32.xml"/><Relationship Id="rId1" Type="http://schemas.microsoft.com/office/2011/relationships/chartStyle" Target="style32.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33.xml"/><Relationship Id="rId1" Type="http://schemas.microsoft.com/office/2011/relationships/chartStyle" Target="style33.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34.xml"/><Relationship Id="rId1" Type="http://schemas.microsoft.com/office/2011/relationships/chartStyle" Target="style34.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35.xml"/><Relationship Id="rId1" Type="http://schemas.microsoft.com/office/2011/relationships/chartStyle" Target="style35.xml"/></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3" Type="http://schemas.openxmlformats.org/officeDocument/2006/relationships/package" Target="../embeddings/Microsoft_Excel_Worksheet158.xlsx"/><Relationship Id="rId2" Type="http://schemas.microsoft.com/office/2011/relationships/chartColorStyle" Target="colors36.xml"/><Relationship Id="rId1" Type="http://schemas.microsoft.com/office/2011/relationships/chartStyle" Target="style36.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3" Type="http://schemas.openxmlformats.org/officeDocument/2006/relationships/package" Target="../embeddings/Microsoft_Excel_Worksheet159.xlsx"/><Relationship Id="rId2" Type="http://schemas.microsoft.com/office/2011/relationships/chartColorStyle" Target="colors37.xml"/><Relationship Id="rId1" Type="http://schemas.microsoft.com/office/2011/relationships/chartStyle" Target="style37.xml"/></Relationships>
</file>

<file path=ppt/charts/_rels/chart161.xml.rels><?xml version="1.0" encoding="UTF-8" standalone="yes"?>
<Relationships xmlns="http://schemas.openxmlformats.org/package/2006/relationships"><Relationship Id="rId3" Type="http://schemas.openxmlformats.org/officeDocument/2006/relationships/package" Target="../embeddings/Microsoft_Excel_Worksheet160.xlsx"/><Relationship Id="rId2" Type="http://schemas.microsoft.com/office/2011/relationships/chartColorStyle" Target="colors38.xml"/><Relationship Id="rId1" Type="http://schemas.microsoft.com/office/2011/relationships/chartStyle" Target="style38.xml"/></Relationships>
</file>

<file path=ppt/charts/_rels/chart162.xml.rels><?xml version="1.0" encoding="UTF-8" standalone="yes"?>
<Relationships xmlns="http://schemas.openxmlformats.org/package/2006/relationships"><Relationship Id="rId3" Type="http://schemas.openxmlformats.org/officeDocument/2006/relationships/package" Target="../embeddings/Microsoft_Excel_Worksheet161.xlsx"/><Relationship Id="rId2" Type="http://schemas.microsoft.com/office/2011/relationships/chartColorStyle" Target="colors39.xml"/><Relationship Id="rId1" Type="http://schemas.microsoft.com/office/2011/relationships/chartStyle" Target="style39.xml"/></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3" Type="http://schemas.openxmlformats.org/officeDocument/2006/relationships/package" Target="../embeddings/Microsoft_Excel_Worksheet163.xlsx"/><Relationship Id="rId2" Type="http://schemas.microsoft.com/office/2011/relationships/chartColorStyle" Target="colors40.xml"/><Relationship Id="rId1" Type="http://schemas.microsoft.com/office/2011/relationships/chartStyle" Target="style40.xml"/></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41.xml"/><Relationship Id="rId1" Type="http://schemas.microsoft.com/office/2011/relationships/chartStyle" Target="style41.xml"/></Relationships>
</file>

<file path=ppt/charts/_rels/chart166.xml.rels><?xml version="1.0" encoding="UTF-8" standalone="yes"?>
<Relationships xmlns="http://schemas.openxmlformats.org/package/2006/relationships"><Relationship Id="rId3" Type="http://schemas.openxmlformats.org/officeDocument/2006/relationships/package" Target="../embeddings/Microsoft_Excel_Worksheet165.xlsx"/><Relationship Id="rId2" Type="http://schemas.microsoft.com/office/2011/relationships/chartColorStyle" Target="colors42.xml"/><Relationship Id="rId1" Type="http://schemas.microsoft.com/office/2011/relationships/chartStyle" Target="style42.xml"/></Relationships>
</file>

<file path=ppt/charts/_rels/chart167.xml.rels><?xml version="1.0" encoding="UTF-8" standalone="yes"?>
<Relationships xmlns="http://schemas.openxmlformats.org/package/2006/relationships"><Relationship Id="rId3" Type="http://schemas.openxmlformats.org/officeDocument/2006/relationships/package" Target="../embeddings/Microsoft_Excel_Worksheet166.xlsx"/><Relationship Id="rId2" Type="http://schemas.microsoft.com/office/2011/relationships/chartColorStyle" Target="colors43.xml"/><Relationship Id="rId1" Type="http://schemas.microsoft.com/office/2011/relationships/chartStyle" Target="style43.xml"/></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3" Type="http://schemas.openxmlformats.org/officeDocument/2006/relationships/package" Target="../embeddings/Microsoft_Excel_Worksheet168.xlsx"/><Relationship Id="rId2" Type="http://schemas.microsoft.com/office/2011/relationships/chartColorStyle" Target="colors44.xml"/><Relationship Id="rId1" Type="http://schemas.microsoft.com/office/2011/relationships/chartStyle" Target="style44.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3" Type="http://schemas.openxmlformats.org/officeDocument/2006/relationships/package" Target="../embeddings/Microsoft_Excel_Worksheet169.xlsx"/><Relationship Id="rId2" Type="http://schemas.microsoft.com/office/2011/relationships/chartColorStyle" Target="colors45.xml"/><Relationship Id="rId1" Type="http://schemas.microsoft.com/office/2011/relationships/chartStyle" Target="style45.xml"/></Relationships>
</file>

<file path=ppt/charts/_rels/chart171.xml.rels><?xml version="1.0" encoding="UTF-8" standalone="yes"?>
<Relationships xmlns="http://schemas.openxmlformats.org/package/2006/relationships"><Relationship Id="rId3" Type="http://schemas.openxmlformats.org/officeDocument/2006/relationships/package" Target="../embeddings/Microsoft_Excel_Worksheet170.xlsx"/><Relationship Id="rId2" Type="http://schemas.microsoft.com/office/2011/relationships/chartColorStyle" Target="colors46.xml"/><Relationship Id="rId1" Type="http://schemas.microsoft.com/office/2011/relationships/chartStyle" Target="style46.xml"/></Relationships>
</file>

<file path=ppt/charts/_rels/chart172.xml.rels><?xml version="1.0" encoding="UTF-8" standalone="yes"?>
<Relationships xmlns="http://schemas.openxmlformats.org/package/2006/relationships"><Relationship Id="rId3" Type="http://schemas.openxmlformats.org/officeDocument/2006/relationships/package" Target="../embeddings/Microsoft_Excel_Worksheet171.xlsx"/><Relationship Id="rId2" Type="http://schemas.microsoft.com/office/2011/relationships/chartColorStyle" Target="colors47.xml"/><Relationship Id="rId1" Type="http://schemas.microsoft.com/office/2011/relationships/chartStyle" Target="style47.xml"/></Relationships>
</file>

<file path=ppt/charts/_rels/chart173.xml.rels><?xml version="1.0" encoding="UTF-8" standalone="yes"?>
<Relationships xmlns="http://schemas.openxmlformats.org/package/2006/relationships"><Relationship Id="rId3" Type="http://schemas.openxmlformats.org/officeDocument/2006/relationships/package" Target="../embeddings/Microsoft_Excel_Worksheet172.xlsx"/><Relationship Id="rId2" Type="http://schemas.microsoft.com/office/2011/relationships/chartColorStyle" Target="colors48.xml"/><Relationship Id="rId1" Type="http://schemas.microsoft.com/office/2011/relationships/chartStyle" Target="style48.xml"/></Relationships>
</file>

<file path=ppt/charts/_rels/chart174.xml.rels><?xml version="1.0" encoding="UTF-8" standalone="yes"?>
<Relationships xmlns="http://schemas.openxmlformats.org/package/2006/relationships"><Relationship Id="rId3" Type="http://schemas.openxmlformats.org/officeDocument/2006/relationships/package" Target="../embeddings/Microsoft_Excel_Worksheet173.xlsx"/><Relationship Id="rId2" Type="http://schemas.microsoft.com/office/2011/relationships/chartColorStyle" Target="colors49.xml"/><Relationship Id="rId1" Type="http://schemas.microsoft.com/office/2011/relationships/chartStyle" Target="style49.xml"/></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3" Type="http://schemas.openxmlformats.org/officeDocument/2006/relationships/package" Target="../embeddings/Microsoft_Excel_Worksheet176.xlsx"/><Relationship Id="rId2" Type="http://schemas.microsoft.com/office/2011/relationships/chartColorStyle" Target="colors50.xml"/><Relationship Id="rId1" Type="http://schemas.microsoft.com/office/2011/relationships/chartStyle" Target="style50.xml"/></Relationships>
</file>

<file path=ppt/charts/_rels/chart178.xml.rels><?xml version="1.0" encoding="UTF-8" standalone="yes"?>
<Relationships xmlns="http://schemas.openxmlformats.org/package/2006/relationships"><Relationship Id="rId3" Type="http://schemas.openxmlformats.org/officeDocument/2006/relationships/package" Target="../embeddings/Microsoft_Excel_Worksheet177.xlsx"/><Relationship Id="rId2" Type="http://schemas.microsoft.com/office/2011/relationships/chartColorStyle" Target="colors51.xml"/><Relationship Id="rId1" Type="http://schemas.microsoft.com/office/2011/relationships/chartStyle" Target="style51.xml"/></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3" Type="http://schemas.openxmlformats.org/officeDocument/2006/relationships/package" Target="../embeddings/Microsoft_Excel_Worksheet179.xlsx"/><Relationship Id="rId2" Type="http://schemas.microsoft.com/office/2011/relationships/chartColorStyle" Target="colors52.xml"/><Relationship Id="rId1" Type="http://schemas.microsoft.com/office/2011/relationships/chartStyle" Target="style52.xml"/></Relationships>
</file>

<file path=ppt/charts/_rels/chart181.xml.rels><?xml version="1.0" encoding="UTF-8" standalone="yes"?>
<Relationships xmlns="http://schemas.openxmlformats.org/package/2006/relationships"><Relationship Id="rId3" Type="http://schemas.openxmlformats.org/officeDocument/2006/relationships/package" Target="../embeddings/Microsoft_Excel_Worksheet180.xlsx"/><Relationship Id="rId2" Type="http://schemas.microsoft.com/office/2011/relationships/chartColorStyle" Target="colors53.xml"/><Relationship Id="rId1" Type="http://schemas.microsoft.com/office/2011/relationships/chartStyle" Target="style53.xml"/></Relationships>
</file>

<file path=ppt/charts/_rels/chart182.xml.rels><?xml version="1.0" encoding="UTF-8" standalone="yes"?>
<Relationships xmlns="http://schemas.openxmlformats.org/package/2006/relationships"><Relationship Id="rId3" Type="http://schemas.openxmlformats.org/officeDocument/2006/relationships/package" Target="../embeddings/Microsoft_Excel_Worksheet181.xlsx"/><Relationship Id="rId2" Type="http://schemas.microsoft.com/office/2011/relationships/chartColorStyle" Target="colors54.xml"/><Relationship Id="rId1" Type="http://schemas.microsoft.com/office/2011/relationships/chartStyle" Target="style54.xml"/></Relationships>
</file>

<file path=ppt/charts/_rels/chart183.xml.rels><?xml version="1.0" encoding="UTF-8" standalone="yes"?>
<Relationships xmlns="http://schemas.openxmlformats.org/package/2006/relationships"><Relationship Id="rId3" Type="http://schemas.openxmlformats.org/officeDocument/2006/relationships/package" Target="../embeddings/Microsoft_Excel_Worksheet182.xlsx"/><Relationship Id="rId2" Type="http://schemas.microsoft.com/office/2011/relationships/chartColorStyle" Target="colors55.xml"/><Relationship Id="rId1" Type="http://schemas.microsoft.com/office/2011/relationships/chartStyle" Target="style55.xml"/></Relationships>
</file>

<file path=ppt/charts/_rels/chart184.xml.rels><?xml version="1.0" encoding="UTF-8" standalone="yes"?>
<Relationships xmlns="http://schemas.openxmlformats.org/package/2006/relationships"><Relationship Id="rId3" Type="http://schemas.openxmlformats.org/officeDocument/2006/relationships/package" Target="../embeddings/Microsoft_Excel_Worksheet183.xlsx"/><Relationship Id="rId2" Type="http://schemas.microsoft.com/office/2011/relationships/chartColorStyle" Target="colors56.xml"/><Relationship Id="rId1" Type="http://schemas.microsoft.com/office/2011/relationships/chartStyle" Target="style56.xml"/></Relationships>
</file>

<file path=ppt/charts/_rels/chart185.xml.rels><?xml version="1.0" encoding="UTF-8" standalone="yes"?>
<Relationships xmlns="http://schemas.openxmlformats.org/package/2006/relationships"><Relationship Id="rId3" Type="http://schemas.openxmlformats.org/officeDocument/2006/relationships/package" Target="../embeddings/Microsoft_Excel_Worksheet184.xlsx"/><Relationship Id="rId2" Type="http://schemas.microsoft.com/office/2011/relationships/chartColorStyle" Target="colors57.xml"/><Relationship Id="rId1" Type="http://schemas.microsoft.com/office/2011/relationships/chartStyle" Target="style57.xml"/></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3" Type="http://schemas.openxmlformats.org/officeDocument/2006/relationships/package" Target="../embeddings/Microsoft_Excel_Worksheet191.xlsx"/><Relationship Id="rId2" Type="http://schemas.microsoft.com/office/2011/relationships/chartColorStyle" Target="colors58.xml"/><Relationship Id="rId1" Type="http://schemas.microsoft.com/office/2011/relationships/chartStyle" Target="style58.xml"/></Relationships>
</file>

<file path=ppt/charts/_rels/chart193.xml.rels><?xml version="1.0" encoding="UTF-8" standalone="yes"?>
<Relationships xmlns="http://schemas.openxmlformats.org/package/2006/relationships"><Relationship Id="rId3" Type="http://schemas.openxmlformats.org/officeDocument/2006/relationships/package" Target="../embeddings/Microsoft_Excel_Worksheet192.xlsx"/><Relationship Id="rId2" Type="http://schemas.microsoft.com/office/2011/relationships/chartColorStyle" Target="colors59.xml"/><Relationship Id="rId1" Type="http://schemas.microsoft.com/office/2011/relationships/chartStyle" Target="style59.xml"/></Relationships>
</file>

<file path=ppt/charts/_rels/chart194.xml.rels><?xml version="1.0" encoding="UTF-8" standalone="yes"?>
<Relationships xmlns="http://schemas.openxmlformats.org/package/2006/relationships"><Relationship Id="rId3" Type="http://schemas.openxmlformats.org/officeDocument/2006/relationships/package" Target="../embeddings/Microsoft_Excel_Worksheet193.xlsx"/><Relationship Id="rId2" Type="http://schemas.microsoft.com/office/2011/relationships/chartColorStyle" Target="colors60.xml"/><Relationship Id="rId1" Type="http://schemas.microsoft.com/office/2011/relationships/chartStyle" Target="style60.xml"/></Relationships>
</file>

<file path=ppt/charts/_rels/chart195.xml.rels><?xml version="1.0" encoding="UTF-8" standalone="yes"?>
<Relationships xmlns="http://schemas.openxmlformats.org/package/2006/relationships"><Relationship Id="rId3" Type="http://schemas.openxmlformats.org/officeDocument/2006/relationships/package" Target="../embeddings/Microsoft_Excel_Worksheet194.xlsx"/><Relationship Id="rId2" Type="http://schemas.microsoft.com/office/2011/relationships/chartColorStyle" Target="colors61.xml"/><Relationship Id="rId1" Type="http://schemas.microsoft.com/office/2011/relationships/chartStyle" Target="style61.xml"/></Relationships>
</file>

<file path=ppt/charts/_rels/chart196.xml.rels><?xml version="1.0" encoding="UTF-8" standalone="yes"?>
<Relationships xmlns="http://schemas.openxmlformats.org/package/2006/relationships"><Relationship Id="rId3" Type="http://schemas.openxmlformats.org/officeDocument/2006/relationships/package" Target="../embeddings/Microsoft_Excel_Worksheet195.xlsx"/><Relationship Id="rId2" Type="http://schemas.microsoft.com/office/2011/relationships/chartColorStyle" Target="colors62.xml"/><Relationship Id="rId1" Type="http://schemas.microsoft.com/office/2011/relationships/chartStyle" Target="style62.xml"/></Relationships>
</file>

<file path=ppt/charts/_rels/chart197.xml.rels><?xml version="1.0" encoding="UTF-8" standalone="yes"?>
<Relationships xmlns="http://schemas.openxmlformats.org/package/2006/relationships"><Relationship Id="rId3" Type="http://schemas.openxmlformats.org/officeDocument/2006/relationships/package" Target="../embeddings/Microsoft_Excel_Worksheet196.xlsx"/><Relationship Id="rId2" Type="http://schemas.microsoft.com/office/2011/relationships/chartColorStyle" Target="colors63.xml"/><Relationship Id="rId1" Type="http://schemas.microsoft.com/office/2011/relationships/chartStyle" Target="style63.xml"/></Relationships>
</file>

<file path=ppt/charts/_rels/chart198.xml.rels><?xml version="1.0" encoding="UTF-8" standalone="yes"?>
<Relationships xmlns="http://schemas.openxmlformats.org/package/2006/relationships"><Relationship Id="rId3" Type="http://schemas.openxmlformats.org/officeDocument/2006/relationships/package" Target="../embeddings/Microsoft_Excel_Worksheet197.xlsx"/><Relationship Id="rId2" Type="http://schemas.microsoft.com/office/2011/relationships/chartColorStyle" Target="colors64.xml"/><Relationship Id="rId1" Type="http://schemas.microsoft.com/office/2011/relationships/chartStyle" Target="style64.xml"/></Relationships>
</file>

<file path=ppt/charts/_rels/chart199.xml.rels><?xml version="1.0" encoding="UTF-8" standalone="yes"?>
<Relationships xmlns="http://schemas.openxmlformats.org/package/2006/relationships"><Relationship Id="rId3" Type="http://schemas.openxmlformats.org/officeDocument/2006/relationships/package" Target="../embeddings/Microsoft_Excel_Worksheet198.xlsx"/><Relationship Id="rId2" Type="http://schemas.microsoft.com/office/2011/relationships/chartColorStyle" Target="colors65.xml"/><Relationship Id="rId1" Type="http://schemas.microsoft.com/office/2011/relationships/chartStyle" Target="style65.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3" Type="http://schemas.openxmlformats.org/officeDocument/2006/relationships/package" Target="../embeddings/Microsoft_Excel_Worksheet199.xlsx"/><Relationship Id="rId2" Type="http://schemas.microsoft.com/office/2011/relationships/chartColorStyle" Target="colors66.xml"/><Relationship Id="rId1" Type="http://schemas.microsoft.com/office/2011/relationships/chartStyle" Target="style66.xml"/></Relationships>
</file>

<file path=ppt/charts/_rels/chart201.xml.rels><?xml version="1.0" encoding="UTF-8" standalone="yes"?>
<Relationships xmlns="http://schemas.openxmlformats.org/package/2006/relationships"><Relationship Id="rId3" Type="http://schemas.openxmlformats.org/officeDocument/2006/relationships/package" Target="../embeddings/Microsoft_Excel_Worksheet200.xlsx"/><Relationship Id="rId2" Type="http://schemas.microsoft.com/office/2011/relationships/chartColorStyle" Target="colors67.xml"/><Relationship Id="rId1" Type="http://schemas.microsoft.com/office/2011/relationships/chartStyle" Target="style67.xml"/></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68.xml"/><Relationship Id="rId1" Type="http://schemas.microsoft.com/office/2011/relationships/chartStyle" Target="style68.xml"/></Relationships>
</file>

<file path=ppt/charts/_rels/chart203.xml.rels><?xml version="1.0" encoding="UTF-8" standalone="yes"?>
<Relationships xmlns="http://schemas.openxmlformats.org/package/2006/relationships"><Relationship Id="rId3" Type="http://schemas.openxmlformats.org/officeDocument/2006/relationships/package" Target="../embeddings/Microsoft_Excel_Worksheet202.xlsx"/><Relationship Id="rId2" Type="http://schemas.microsoft.com/office/2011/relationships/chartColorStyle" Target="colors69.xml"/><Relationship Id="rId1" Type="http://schemas.microsoft.com/office/2011/relationships/chartStyle" Target="style69.xml"/></Relationships>
</file>

<file path=ppt/charts/_rels/chart204.xml.rels><?xml version="1.0" encoding="UTF-8" standalone="yes"?>
<Relationships xmlns="http://schemas.openxmlformats.org/package/2006/relationships"><Relationship Id="rId3" Type="http://schemas.openxmlformats.org/officeDocument/2006/relationships/package" Target="../embeddings/Microsoft_Excel_Worksheet203.xlsx"/><Relationship Id="rId2" Type="http://schemas.microsoft.com/office/2011/relationships/chartColorStyle" Target="colors70.xml"/><Relationship Id="rId1" Type="http://schemas.microsoft.com/office/2011/relationships/chartStyle" Target="style70.xml"/></Relationships>
</file>

<file path=ppt/charts/_rels/chart205.xml.rels><?xml version="1.0" encoding="UTF-8" standalone="yes"?>
<Relationships xmlns="http://schemas.openxmlformats.org/package/2006/relationships"><Relationship Id="rId3" Type="http://schemas.openxmlformats.org/officeDocument/2006/relationships/package" Target="../embeddings/Microsoft_Excel_Worksheet204.xlsx"/><Relationship Id="rId2" Type="http://schemas.microsoft.com/office/2011/relationships/chartColorStyle" Target="colors71.xml"/><Relationship Id="rId1" Type="http://schemas.microsoft.com/office/2011/relationships/chartStyle" Target="style71.xml"/></Relationships>
</file>

<file path=ppt/charts/_rels/chart206.xml.rels><?xml version="1.0" encoding="UTF-8" standalone="yes"?>
<Relationships xmlns="http://schemas.openxmlformats.org/package/2006/relationships"><Relationship Id="rId3" Type="http://schemas.openxmlformats.org/officeDocument/2006/relationships/package" Target="../embeddings/Microsoft_Excel_Worksheet205.xlsx"/><Relationship Id="rId2" Type="http://schemas.microsoft.com/office/2011/relationships/chartColorStyle" Target="colors72.xml"/><Relationship Id="rId1" Type="http://schemas.microsoft.com/office/2011/relationships/chartStyle" Target="style72.xml"/></Relationships>
</file>

<file path=ppt/charts/_rels/chart207.xml.rels><?xml version="1.0" encoding="UTF-8" standalone="yes"?>
<Relationships xmlns="http://schemas.openxmlformats.org/package/2006/relationships"><Relationship Id="rId3" Type="http://schemas.openxmlformats.org/officeDocument/2006/relationships/package" Target="../embeddings/Microsoft_Excel_Worksheet206.xlsx"/><Relationship Id="rId2" Type="http://schemas.microsoft.com/office/2011/relationships/chartColorStyle" Target="colors73.xml"/><Relationship Id="rId1" Type="http://schemas.microsoft.com/office/2011/relationships/chartStyle" Target="style73.xml"/></Relationships>
</file>

<file path=ppt/charts/_rels/chart208.xml.rels><?xml version="1.0" encoding="UTF-8" standalone="yes"?>
<Relationships xmlns="http://schemas.openxmlformats.org/package/2006/relationships"><Relationship Id="rId3" Type="http://schemas.openxmlformats.org/officeDocument/2006/relationships/package" Target="../embeddings/Microsoft_Excel_Worksheet207.xlsx"/><Relationship Id="rId2" Type="http://schemas.microsoft.com/office/2011/relationships/chartColorStyle" Target="colors74.xml"/><Relationship Id="rId1" Type="http://schemas.microsoft.com/office/2011/relationships/chartStyle" Target="style74.xml"/></Relationships>
</file>

<file path=ppt/charts/_rels/chart209.xml.rels><?xml version="1.0" encoding="UTF-8" standalone="yes"?>
<Relationships xmlns="http://schemas.openxmlformats.org/package/2006/relationships"><Relationship Id="rId3" Type="http://schemas.openxmlformats.org/officeDocument/2006/relationships/package" Target="../embeddings/Microsoft_Excel_Worksheet208.xlsx"/><Relationship Id="rId2" Type="http://schemas.microsoft.com/office/2011/relationships/chartColorStyle" Target="colors75.xml"/><Relationship Id="rId1" Type="http://schemas.microsoft.com/office/2011/relationships/chartStyle" Target="style75.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3" Type="http://schemas.openxmlformats.org/officeDocument/2006/relationships/package" Target="../embeddings/Microsoft_Excel_Worksheet209.xlsx"/><Relationship Id="rId2" Type="http://schemas.microsoft.com/office/2011/relationships/chartColorStyle" Target="colors76.xml"/><Relationship Id="rId1" Type="http://schemas.microsoft.com/office/2011/relationships/chartStyle" Target="style76.xml"/></Relationships>
</file>

<file path=ppt/charts/_rels/chart211.xml.rels><?xml version="1.0" encoding="UTF-8" standalone="yes"?>
<Relationships xmlns="http://schemas.openxmlformats.org/package/2006/relationships"><Relationship Id="rId3" Type="http://schemas.openxmlformats.org/officeDocument/2006/relationships/package" Target="../embeddings/Microsoft_Excel_Worksheet210.xlsx"/><Relationship Id="rId2" Type="http://schemas.microsoft.com/office/2011/relationships/chartColorStyle" Target="colors77.xml"/><Relationship Id="rId1" Type="http://schemas.microsoft.com/office/2011/relationships/chartStyle" Target="style77.xml"/></Relationships>
</file>

<file path=ppt/charts/_rels/chart212.xml.rels><?xml version="1.0" encoding="UTF-8" standalone="yes"?>
<Relationships xmlns="http://schemas.openxmlformats.org/package/2006/relationships"><Relationship Id="rId3" Type="http://schemas.openxmlformats.org/officeDocument/2006/relationships/package" Target="../embeddings/Microsoft_Excel_Worksheet211.xlsx"/><Relationship Id="rId2" Type="http://schemas.microsoft.com/office/2011/relationships/chartColorStyle" Target="colors78.xml"/><Relationship Id="rId1" Type="http://schemas.microsoft.com/office/2011/relationships/chartStyle" Target="style78.xml"/></Relationships>
</file>

<file path=ppt/charts/_rels/chart213.xml.rels><?xml version="1.0" encoding="UTF-8" standalone="yes"?>
<Relationships xmlns="http://schemas.openxmlformats.org/package/2006/relationships"><Relationship Id="rId3" Type="http://schemas.openxmlformats.org/officeDocument/2006/relationships/package" Target="../embeddings/Microsoft_Excel_Worksheet212.xlsx"/><Relationship Id="rId2" Type="http://schemas.microsoft.com/office/2011/relationships/chartColorStyle" Target="colors79.xml"/><Relationship Id="rId1" Type="http://schemas.microsoft.com/office/2011/relationships/chartStyle" Target="style79.xml"/></Relationships>
</file>

<file path=ppt/charts/_rels/chart214.xml.rels><?xml version="1.0" encoding="UTF-8" standalone="yes"?>
<Relationships xmlns="http://schemas.openxmlformats.org/package/2006/relationships"><Relationship Id="rId3" Type="http://schemas.openxmlformats.org/officeDocument/2006/relationships/package" Target="../embeddings/Microsoft_Excel_Worksheet213.xlsx"/><Relationship Id="rId2" Type="http://schemas.microsoft.com/office/2011/relationships/chartColorStyle" Target="colors80.xml"/><Relationship Id="rId1" Type="http://schemas.microsoft.com/office/2011/relationships/chartStyle" Target="style80.xml"/></Relationships>
</file>

<file path=ppt/charts/_rels/chart215.xml.rels><?xml version="1.0" encoding="UTF-8" standalone="yes"?>
<Relationships xmlns="http://schemas.openxmlformats.org/package/2006/relationships"><Relationship Id="rId3" Type="http://schemas.openxmlformats.org/officeDocument/2006/relationships/package" Target="../embeddings/Microsoft_Excel_Worksheet214.xlsx"/><Relationship Id="rId2" Type="http://schemas.microsoft.com/office/2011/relationships/chartColorStyle" Target="colors81.xml"/><Relationship Id="rId1" Type="http://schemas.microsoft.com/office/2011/relationships/chartStyle" Target="style81.xml"/></Relationships>
</file>

<file path=ppt/charts/_rels/chart216.xml.rels><?xml version="1.0" encoding="UTF-8" standalone="yes"?>
<Relationships xmlns="http://schemas.openxmlformats.org/package/2006/relationships"><Relationship Id="rId3" Type="http://schemas.openxmlformats.org/officeDocument/2006/relationships/package" Target="../embeddings/Microsoft_Excel_Worksheet215.xlsx"/><Relationship Id="rId2" Type="http://schemas.microsoft.com/office/2011/relationships/chartColorStyle" Target="colors82.xml"/><Relationship Id="rId1" Type="http://schemas.microsoft.com/office/2011/relationships/chartStyle" Target="style82.xml"/></Relationships>
</file>

<file path=ppt/charts/_rels/chart217.xml.rels><?xml version="1.0" encoding="UTF-8" standalone="yes"?>
<Relationships xmlns="http://schemas.openxmlformats.org/package/2006/relationships"><Relationship Id="rId3" Type="http://schemas.openxmlformats.org/officeDocument/2006/relationships/package" Target="../embeddings/Microsoft_Excel_Worksheet216.xlsx"/><Relationship Id="rId2" Type="http://schemas.microsoft.com/office/2011/relationships/chartColorStyle" Target="colors83.xml"/><Relationship Id="rId1" Type="http://schemas.microsoft.com/office/2011/relationships/chartStyle" Target="style83.xml"/></Relationships>
</file>

<file path=ppt/charts/_rels/chart218.xml.rels><?xml version="1.0" encoding="UTF-8" standalone="yes"?>
<Relationships xmlns="http://schemas.openxmlformats.org/package/2006/relationships"><Relationship Id="rId3" Type="http://schemas.openxmlformats.org/officeDocument/2006/relationships/package" Target="../embeddings/Microsoft_Excel_Worksheet217.xlsx"/><Relationship Id="rId2" Type="http://schemas.microsoft.com/office/2011/relationships/chartColorStyle" Target="colors84.xml"/><Relationship Id="rId1" Type="http://schemas.microsoft.com/office/2011/relationships/chartStyle" Target="style84.xml"/></Relationships>
</file>

<file path=ppt/charts/_rels/chart219.xml.rels><?xml version="1.0" encoding="UTF-8" standalone="yes"?>
<Relationships xmlns="http://schemas.openxmlformats.org/package/2006/relationships"><Relationship Id="rId3" Type="http://schemas.openxmlformats.org/officeDocument/2006/relationships/package" Target="../embeddings/Microsoft_Excel_Worksheet218.xlsx"/><Relationship Id="rId2" Type="http://schemas.microsoft.com/office/2011/relationships/chartColorStyle" Target="colors85.xml"/><Relationship Id="rId1" Type="http://schemas.microsoft.com/office/2011/relationships/chartStyle" Target="style85.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3" Type="http://schemas.openxmlformats.org/officeDocument/2006/relationships/package" Target="../embeddings/Microsoft_Excel_Worksheet219.xlsx"/><Relationship Id="rId2" Type="http://schemas.microsoft.com/office/2011/relationships/chartColorStyle" Target="colors86.xml"/><Relationship Id="rId1" Type="http://schemas.microsoft.com/office/2011/relationships/chartStyle" Target="style86.xml"/></Relationships>
</file>

<file path=ppt/charts/_rels/chart221.xml.rels><?xml version="1.0" encoding="UTF-8" standalone="yes"?>
<Relationships xmlns="http://schemas.openxmlformats.org/package/2006/relationships"><Relationship Id="rId3" Type="http://schemas.openxmlformats.org/officeDocument/2006/relationships/package" Target="../embeddings/Microsoft_Excel_Worksheet220.xlsx"/><Relationship Id="rId2" Type="http://schemas.microsoft.com/office/2011/relationships/chartColorStyle" Target="colors87.xml"/><Relationship Id="rId1" Type="http://schemas.microsoft.com/office/2011/relationships/chartStyle" Target="style87.xml"/></Relationships>
</file>

<file path=ppt/charts/_rels/chart222.xml.rels><?xml version="1.0" encoding="UTF-8" standalone="yes"?>
<Relationships xmlns="http://schemas.openxmlformats.org/package/2006/relationships"><Relationship Id="rId3" Type="http://schemas.openxmlformats.org/officeDocument/2006/relationships/package" Target="../embeddings/Microsoft_Excel_Worksheet221.xlsx"/><Relationship Id="rId2" Type="http://schemas.microsoft.com/office/2011/relationships/chartColorStyle" Target="colors88.xml"/><Relationship Id="rId1" Type="http://schemas.microsoft.com/office/2011/relationships/chartStyle" Target="style88.xml"/></Relationships>
</file>

<file path=ppt/charts/_rels/chart223.xml.rels><?xml version="1.0" encoding="UTF-8" standalone="yes"?>
<Relationships xmlns="http://schemas.openxmlformats.org/package/2006/relationships"><Relationship Id="rId3" Type="http://schemas.openxmlformats.org/officeDocument/2006/relationships/package" Target="../embeddings/Microsoft_Excel_Worksheet222.xlsx"/><Relationship Id="rId2" Type="http://schemas.microsoft.com/office/2011/relationships/chartColorStyle" Target="colors89.xml"/><Relationship Id="rId1" Type="http://schemas.microsoft.com/office/2011/relationships/chartStyle" Target="style89.xml"/></Relationships>
</file>

<file path=ppt/charts/_rels/chart224.xml.rels><?xml version="1.0" encoding="UTF-8" standalone="yes"?>
<Relationships xmlns="http://schemas.openxmlformats.org/package/2006/relationships"><Relationship Id="rId3" Type="http://schemas.openxmlformats.org/officeDocument/2006/relationships/package" Target="../embeddings/Microsoft_Excel_Worksheet223.xlsx"/><Relationship Id="rId2" Type="http://schemas.microsoft.com/office/2011/relationships/chartColorStyle" Target="colors90.xml"/><Relationship Id="rId1" Type="http://schemas.microsoft.com/office/2011/relationships/chartStyle" Target="style90.xml"/></Relationships>
</file>

<file path=ppt/charts/_rels/chart225.xml.rels><?xml version="1.0" encoding="UTF-8" standalone="yes"?>
<Relationships xmlns="http://schemas.openxmlformats.org/package/2006/relationships"><Relationship Id="rId3" Type="http://schemas.openxmlformats.org/officeDocument/2006/relationships/package" Target="../embeddings/Microsoft_Excel_Worksheet224.xlsx"/><Relationship Id="rId2" Type="http://schemas.microsoft.com/office/2011/relationships/chartColorStyle" Target="colors91.xml"/><Relationship Id="rId1" Type="http://schemas.microsoft.com/office/2011/relationships/chartStyle" Target="style91.xml"/></Relationships>
</file>

<file path=ppt/charts/_rels/chart226.xml.rels><?xml version="1.0" encoding="UTF-8" standalone="yes"?>
<Relationships xmlns="http://schemas.openxmlformats.org/package/2006/relationships"><Relationship Id="rId3" Type="http://schemas.openxmlformats.org/officeDocument/2006/relationships/package" Target="../embeddings/Microsoft_Excel_Worksheet225.xlsx"/><Relationship Id="rId2" Type="http://schemas.microsoft.com/office/2011/relationships/chartColorStyle" Target="colors92.xml"/><Relationship Id="rId1" Type="http://schemas.microsoft.com/office/2011/relationships/chartStyle" Target="style92.xml"/></Relationships>
</file>

<file path=ppt/charts/_rels/chart227.xml.rels><?xml version="1.0" encoding="UTF-8" standalone="yes"?>
<Relationships xmlns="http://schemas.openxmlformats.org/package/2006/relationships"><Relationship Id="rId3" Type="http://schemas.openxmlformats.org/officeDocument/2006/relationships/package" Target="../embeddings/Microsoft_Excel_Worksheet226.xlsx"/><Relationship Id="rId2" Type="http://schemas.microsoft.com/office/2011/relationships/chartColorStyle" Target="colors93.xml"/><Relationship Id="rId1" Type="http://schemas.microsoft.com/office/2011/relationships/chartStyle" Target="style93.xml"/></Relationships>
</file>

<file path=ppt/charts/_rels/chart228.xml.rels><?xml version="1.0" encoding="UTF-8" standalone="yes"?>
<Relationships xmlns="http://schemas.openxmlformats.org/package/2006/relationships"><Relationship Id="rId3" Type="http://schemas.openxmlformats.org/officeDocument/2006/relationships/package" Target="../embeddings/Microsoft_Excel_Worksheet227.xlsx"/><Relationship Id="rId2" Type="http://schemas.microsoft.com/office/2011/relationships/chartColorStyle" Target="colors94.xml"/><Relationship Id="rId1" Type="http://schemas.microsoft.com/office/2011/relationships/chartStyle" Target="style94.xml"/></Relationships>
</file>

<file path=ppt/charts/_rels/chart229.xml.rels><?xml version="1.0" encoding="UTF-8" standalone="yes"?>
<Relationships xmlns="http://schemas.openxmlformats.org/package/2006/relationships"><Relationship Id="rId3" Type="http://schemas.openxmlformats.org/officeDocument/2006/relationships/package" Target="../embeddings/Microsoft_Excel_Worksheet228.xlsx"/><Relationship Id="rId2" Type="http://schemas.microsoft.com/office/2011/relationships/chartColorStyle" Target="colors95.xml"/><Relationship Id="rId1" Type="http://schemas.microsoft.com/office/2011/relationships/chartStyle" Target="style95.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3" Type="http://schemas.openxmlformats.org/officeDocument/2006/relationships/package" Target="../embeddings/Microsoft_Excel_Worksheet229.xlsx"/><Relationship Id="rId2" Type="http://schemas.microsoft.com/office/2011/relationships/chartColorStyle" Target="colors96.xml"/><Relationship Id="rId1" Type="http://schemas.microsoft.com/office/2011/relationships/chartStyle" Target="style96.xml"/></Relationships>
</file>

<file path=ppt/charts/_rels/chart231.xml.rels><?xml version="1.0" encoding="UTF-8" standalone="yes"?>
<Relationships xmlns="http://schemas.openxmlformats.org/package/2006/relationships"><Relationship Id="rId3" Type="http://schemas.openxmlformats.org/officeDocument/2006/relationships/package" Target="../embeddings/Microsoft_Excel_Worksheet230.xlsx"/><Relationship Id="rId2" Type="http://schemas.microsoft.com/office/2011/relationships/chartColorStyle" Target="colors97.xml"/><Relationship Id="rId1" Type="http://schemas.microsoft.com/office/2011/relationships/chartStyle" Target="style97.xml"/></Relationships>
</file>

<file path=ppt/charts/_rels/chart232.xml.rels><?xml version="1.0" encoding="UTF-8" standalone="yes"?>
<Relationships xmlns="http://schemas.openxmlformats.org/package/2006/relationships"><Relationship Id="rId3" Type="http://schemas.openxmlformats.org/officeDocument/2006/relationships/package" Target="../embeddings/Microsoft_Excel_Worksheet231.xlsx"/><Relationship Id="rId2" Type="http://schemas.microsoft.com/office/2011/relationships/chartColorStyle" Target="colors98.xml"/><Relationship Id="rId1" Type="http://schemas.microsoft.com/office/2011/relationships/chartStyle" Target="style98.xml"/></Relationships>
</file>

<file path=ppt/charts/_rels/chart233.xml.rels><?xml version="1.0" encoding="UTF-8" standalone="yes"?>
<Relationships xmlns="http://schemas.openxmlformats.org/package/2006/relationships"><Relationship Id="rId3" Type="http://schemas.openxmlformats.org/officeDocument/2006/relationships/package" Target="../embeddings/Microsoft_Excel_Worksheet232.xlsx"/><Relationship Id="rId2" Type="http://schemas.microsoft.com/office/2011/relationships/chartColorStyle" Target="colors99.xml"/><Relationship Id="rId1" Type="http://schemas.microsoft.com/office/2011/relationships/chartStyle" Target="style99.xml"/></Relationships>
</file>

<file path=ppt/charts/_rels/chart234.xml.rels><?xml version="1.0" encoding="UTF-8" standalone="yes"?>
<Relationships xmlns="http://schemas.openxmlformats.org/package/2006/relationships"><Relationship Id="rId3" Type="http://schemas.openxmlformats.org/officeDocument/2006/relationships/package" Target="../embeddings/Microsoft_Excel_Worksheet233.xlsx"/><Relationship Id="rId2" Type="http://schemas.microsoft.com/office/2011/relationships/chartColorStyle" Target="colors100.xml"/><Relationship Id="rId1" Type="http://schemas.microsoft.com/office/2011/relationships/chartStyle" Target="style100.xml"/></Relationships>
</file>

<file path=ppt/charts/_rels/chart235.xml.rels><?xml version="1.0" encoding="UTF-8" standalone="yes"?>
<Relationships xmlns="http://schemas.openxmlformats.org/package/2006/relationships"><Relationship Id="rId3" Type="http://schemas.openxmlformats.org/officeDocument/2006/relationships/package" Target="../embeddings/Microsoft_Excel_Worksheet234.xlsx"/><Relationship Id="rId2" Type="http://schemas.microsoft.com/office/2011/relationships/chartColorStyle" Target="colors101.xml"/><Relationship Id="rId1" Type="http://schemas.microsoft.com/office/2011/relationships/chartStyle" Target="style101.xml"/></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3" Type="http://schemas.openxmlformats.org/officeDocument/2006/relationships/package" Target="../embeddings/Microsoft_Excel_Worksheet247.xlsx"/><Relationship Id="rId2" Type="http://schemas.microsoft.com/office/2011/relationships/chartColorStyle" Target="colors102.xml"/><Relationship Id="rId1" Type="http://schemas.microsoft.com/office/2011/relationships/chartStyle" Target="style102.xml"/></Relationships>
</file>

<file path=ppt/charts/_rels/chart249.xml.rels><?xml version="1.0" encoding="UTF-8" standalone="yes"?>
<Relationships xmlns="http://schemas.openxmlformats.org/package/2006/relationships"><Relationship Id="rId3" Type="http://schemas.openxmlformats.org/officeDocument/2006/relationships/package" Target="../embeddings/Microsoft_Excel_Worksheet248.xlsx"/><Relationship Id="rId2" Type="http://schemas.microsoft.com/office/2011/relationships/chartColorStyle" Target="colors103.xml"/><Relationship Id="rId1" Type="http://schemas.microsoft.com/office/2011/relationships/chartStyle" Target="style103.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xml"/><Relationship Id="rId1" Type="http://schemas.microsoft.com/office/2011/relationships/chartStyle" Target="style1.xml"/></Relationships>
</file>

<file path=ppt/charts/_rels/chart250.xml.rels><?xml version="1.0" encoding="UTF-8" standalone="yes"?>
<Relationships xmlns="http://schemas.openxmlformats.org/package/2006/relationships"><Relationship Id="rId3" Type="http://schemas.openxmlformats.org/officeDocument/2006/relationships/package" Target="../embeddings/Microsoft_Excel_Worksheet249.xlsx"/><Relationship Id="rId2" Type="http://schemas.microsoft.com/office/2011/relationships/chartColorStyle" Target="colors104.xml"/><Relationship Id="rId1" Type="http://schemas.microsoft.com/office/2011/relationships/chartStyle" Target="style104.xml"/></Relationships>
</file>

<file path=ppt/charts/_rels/chart251.xml.rels><?xml version="1.0" encoding="UTF-8" standalone="yes"?>
<Relationships xmlns="http://schemas.openxmlformats.org/package/2006/relationships"><Relationship Id="rId3" Type="http://schemas.openxmlformats.org/officeDocument/2006/relationships/package" Target="../embeddings/Microsoft_Excel_Worksheet250.xlsx"/><Relationship Id="rId2" Type="http://schemas.microsoft.com/office/2011/relationships/chartColorStyle" Target="colors105.xml"/><Relationship Id="rId1" Type="http://schemas.microsoft.com/office/2011/relationships/chartStyle" Target="style105.xml"/></Relationships>
</file>

<file path=ppt/charts/_rels/chart252.xml.rels><?xml version="1.0" encoding="UTF-8" standalone="yes"?>
<Relationships xmlns="http://schemas.openxmlformats.org/package/2006/relationships"><Relationship Id="rId3" Type="http://schemas.openxmlformats.org/officeDocument/2006/relationships/package" Target="../embeddings/Microsoft_Excel_Worksheet251.xlsx"/><Relationship Id="rId2" Type="http://schemas.microsoft.com/office/2011/relationships/chartColorStyle" Target="colors106.xml"/><Relationship Id="rId1" Type="http://schemas.microsoft.com/office/2011/relationships/chartStyle" Target="style106.xml"/></Relationships>
</file>

<file path=ppt/charts/_rels/chart253.xml.rels><?xml version="1.0" encoding="UTF-8" standalone="yes"?>
<Relationships xmlns="http://schemas.openxmlformats.org/package/2006/relationships"><Relationship Id="rId3" Type="http://schemas.openxmlformats.org/officeDocument/2006/relationships/package" Target="../embeddings/Microsoft_Excel_Worksheet252.xlsx"/><Relationship Id="rId2" Type="http://schemas.microsoft.com/office/2011/relationships/chartColorStyle" Target="colors107.xml"/><Relationship Id="rId1" Type="http://schemas.microsoft.com/office/2011/relationships/chartStyle" Target="style107.xml"/></Relationships>
</file>

<file path=ppt/charts/_rels/chart254.xml.rels><?xml version="1.0" encoding="UTF-8" standalone="yes"?>
<Relationships xmlns="http://schemas.openxmlformats.org/package/2006/relationships"><Relationship Id="rId3" Type="http://schemas.openxmlformats.org/officeDocument/2006/relationships/package" Target="../embeddings/Microsoft_Excel_Worksheet253.xlsx"/><Relationship Id="rId2" Type="http://schemas.microsoft.com/office/2011/relationships/chartColorStyle" Target="colors108.xml"/><Relationship Id="rId1" Type="http://schemas.microsoft.com/office/2011/relationships/chartStyle" Target="style108.xml"/></Relationships>
</file>

<file path=ppt/charts/_rels/chart255.xml.rels><?xml version="1.0" encoding="UTF-8" standalone="yes"?>
<Relationships xmlns="http://schemas.openxmlformats.org/package/2006/relationships"><Relationship Id="rId3" Type="http://schemas.openxmlformats.org/officeDocument/2006/relationships/package" Target="../embeddings/Microsoft_Excel_Worksheet254.xlsx"/><Relationship Id="rId2" Type="http://schemas.microsoft.com/office/2011/relationships/chartColorStyle" Target="colors109.xml"/><Relationship Id="rId1" Type="http://schemas.microsoft.com/office/2011/relationships/chartStyle" Target="style109.xml"/></Relationships>
</file>

<file path=ppt/charts/_rels/chart256.xml.rels><?xml version="1.0" encoding="UTF-8" standalone="yes"?>
<Relationships xmlns="http://schemas.openxmlformats.org/package/2006/relationships"><Relationship Id="rId3" Type="http://schemas.openxmlformats.org/officeDocument/2006/relationships/package" Target="../embeddings/Microsoft_Excel_Worksheet255.xlsx"/><Relationship Id="rId2" Type="http://schemas.microsoft.com/office/2011/relationships/chartColorStyle" Target="colors110.xml"/><Relationship Id="rId1" Type="http://schemas.microsoft.com/office/2011/relationships/chartStyle" Target="style110.xml"/></Relationships>
</file>

<file path=ppt/charts/_rels/chart257.xml.rels><?xml version="1.0" encoding="UTF-8" standalone="yes"?>
<Relationships xmlns="http://schemas.openxmlformats.org/package/2006/relationships"><Relationship Id="rId3" Type="http://schemas.openxmlformats.org/officeDocument/2006/relationships/package" Target="../embeddings/Microsoft_Excel_Worksheet256.xlsx"/><Relationship Id="rId2" Type="http://schemas.microsoft.com/office/2011/relationships/chartColorStyle" Target="colors111.xml"/><Relationship Id="rId1" Type="http://schemas.microsoft.com/office/2011/relationships/chartStyle" Target="style111.xml"/></Relationships>
</file>

<file path=ppt/charts/_rels/chart258.xml.rels><?xml version="1.0" encoding="UTF-8" standalone="yes"?>
<Relationships xmlns="http://schemas.openxmlformats.org/package/2006/relationships"><Relationship Id="rId3" Type="http://schemas.openxmlformats.org/officeDocument/2006/relationships/package" Target="../embeddings/Microsoft_Excel_Worksheet257.xlsx"/><Relationship Id="rId2" Type="http://schemas.microsoft.com/office/2011/relationships/chartColorStyle" Target="colors112.xml"/><Relationship Id="rId1" Type="http://schemas.microsoft.com/office/2011/relationships/chartStyle" Target="style112.xml"/></Relationships>
</file>

<file path=ppt/charts/_rels/chart259.xml.rels><?xml version="1.0" encoding="UTF-8" standalone="yes"?>
<Relationships xmlns="http://schemas.openxmlformats.org/package/2006/relationships"><Relationship Id="rId3" Type="http://schemas.openxmlformats.org/officeDocument/2006/relationships/package" Target="../embeddings/Microsoft_Excel_Worksheet258.xlsx"/><Relationship Id="rId2" Type="http://schemas.microsoft.com/office/2011/relationships/chartColorStyle" Target="colors113.xml"/><Relationship Id="rId1" Type="http://schemas.microsoft.com/office/2011/relationships/chartStyle" Target="style11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xml"/><Relationship Id="rId1" Type="http://schemas.microsoft.com/office/2011/relationships/chartStyle" Target="style2.xml"/></Relationships>
</file>

<file path=ppt/charts/_rels/chart260.xml.rels><?xml version="1.0" encoding="UTF-8" standalone="yes"?>
<Relationships xmlns="http://schemas.openxmlformats.org/package/2006/relationships"><Relationship Id="rId3" Type="http://schemas.openxmlformats.org/officeDocument/2006/relationships/package" Target="../embeddings/Microsoft_Excel_Worksheet259.xlsx"/><Relationship Id="rId2" Type="http://schemas.microsoft.com/office/2011/relationships/chartColorStyle" Target="colors114.xml"/><Relationship Id="rId1" Type="http://schemas.microsoft.com/office/2011/relationships/chartStyle" Target="style114.xml"/></Relationships>
</file>

<file path=ppt/charts/_rels/chart261.xml.rels><?xml version="1.0" encoding="UTF-8" standalone="yes"?>
<Relationships xmlns="http://schemas.openxmlformats.org/package/2006/relationships"><Relationship Id="rId3" Type="http://schemas.openxmlformats.org/officeDocument/2006/relationships/package" Target="../embeddings/Microsoft_Excel_Worksheet260.xlsx"/><Relationship Id="rId2" Type="http://schemas.microsoft.com/office/2011/relationships/chartColorStyle" Target="colors115.xml"/><Relationship Id="rId1" Type="http://schemas.microsoft.com/office/2011/relationships/chartStyle" Target="style115.xml"/></Relationships>
</file>

<file path=ppt/charts/_rels/chart262.xml.rels><?xml version="1.0" encoding="UTF-8" standalone="yes"?>
<Relationships xmlns="http://schemas.openxmlformats.org/package/2006/relationships"><Relationship Id="rId3" Type="http://schemas.openxmlformats.org/officeDocument/2006/relationships/package" Target="../embeddings/Microsoft_Excel_Worksheet261.xlsx"/><Relationship Id="rId2" Type="http://schemas.microsoft.com/office/2011/relationships/chartColorStyle" Target="colors116.xml"/><Relationship Id="rId1" Type="http://schemas.microsoft.com/office/2011/relationships/chartStyle" Target="style116.xml"/></Relationships>
</file>

<file path=ppt/charts/_rels/chart263.xml.rels><?xml version="1.0" encoding="UTF-8" standalone="yes"?>
<Relationships xmlns="http://schemas.openxmlformats.org/package/2006/relationships"><Relationship Id="rId3" Type="http://schemas.openxmlformats.org/officeDocument/2006/relationships/package" Target="../embeddings/Microsoft_Excel_Worksheet262.xlsx"/><Relationship Id="rId2" Type="http://schemas.microsoft.com/office/2011/relationships/chartColorStyle" Target="colors117.xml"/><Relationship Id="rId1" Type="http://schemas.microsoft.com/office/2011/relationships/chartStyle" Target="style117.xml"/></Relationships>
</file>

<file path=ppt/charts/_rels/chart264.xml.rels><?xml version="1.0" encoding="UTF-8" standalone="yes"?>
<Relationships xmlns="http://schemas.openxmlformats.org/package/2006/relationships"><Relationship Id="rId3" Type="http://schemas.openxmlformats.org/officeDocument/2006/relationships/package" Target="../embeddings/Microsoft_Excel_Worksheet263.xlsx"/><Relationship Id="rId2" Type="http://schemas.microsoft.com/office/2011/relationships/chartColorStyle" Target="colors118.xml"/><Relationship Id="rId1" Type="http://schemas.microsoft.com/office/2011/relationships/chartStyle" Target="style118.xml"/></Relationships>
</file>

<file path=ppt/charts/_rels/chart265.xml.rels><?xml version="1.0" encoding="UTF-8" standalone="yes"?>
<Relationships xmlns="http://schemas.openxmlformats.org/package/2006/relationships"><Relationship Id="rId3" Type="http://schemas.openxmlformats.org/officeDocument/2006/relationships/package" Target="../embeddings/Microsoft_Excel_Worksheet264.xlsx"/><Relationship Id="rId2" Type="http://schemas.microsoft.com/office/2011/relationships/chartColorStyle" Target="colors119.xml"/><Relationship Id="rId1" Type="http://schemas.microsoft.com/office/2011/relationships/chartStyle" Target="style119.xml"/></Relationships>
</file>

<file path=ppt/charts/_rels/chart266.xml.rels><?xml version="1.0" encoding="UTF-8" standalone="yes"?>
<Relationships xmlns="http://schemas.openxmlformats.org/package/2006/relationships"><Relationship Id="rId3" Type="http://schemas.openxmlformats.org/officeDocument/2006/relationships/package" Target="../embeddings/Microsoft_Excel_Worksheet265.xlsx"/><Relationship Id="rId2" Type="http://schemas.microsoft.com/office/2011/relationships/chartColorStyle" Target="colors120.xml"/><Relationship Id="rId1" Type="http://schemas.microsoft.com/office/2011/relationships/chartStyle" Target="style120.xml"/></Relationships>
</file>

<file path=ppt/charts/_rels/chart267.xml.rels><?xml version="1.0" encoding="UTF-8" standalone="yes"?>
<Relationships xmlns="http://schemas.openxmlformats.org/package/2006/relationships"><Relationship Id="rId3" Type="http://schemas.openxmlformats.org/officeDocument/2006/relationships/package" Target="../embeddings/Microsoft_Excel_Worksheet266.xlsx"/><Relationship Id="rId2" Type="http://schemas.microsoft.com/office/2011/relationships/chartColorStyle" Target="colors121.xml"/><Relationship Id="rId1" Type="http://schemas.microsoft.com/office/2011/relationships/chartStyle" Target="style121.xml"/></Relationships>
</file>

<file path=ppt/charts/_rels/chart268.xml.rels><?xml version="1.0" encoding="UTF-8" standalone="yes"?>
<Relationships xmlns="http://schemas.openxmlformats.org/package/2006/relationships"><Relationship Id="rId3" Type="http://schemas.openxmlformats.org/officeDocument/2006/relationships/package" Target="../embeddings/Microsoft_Excel_Worksheet267.xlsx"/><Relationship Id="rId2" Type="http://schemas.microsoft.com/office/2011/relationships/chartColorStyle" Target="colors122.xml"/><Relationship Id="rId1" Type="http://schemas.microsoft.com/office/2011/relationships/chartStyle" Target="style122.xml"/></Relationships>
</file>

<file path=ppt/charts/_rels/chart269.xml.rels><?xml version="1.0" encoding="UTF-8" standalone="yes"?>
<Relationships xmlns="http://schemas.openxmlformats.org/package/2006/relationships"><Relationship Id="rId3" Type="http://schemas.openxmlformats.org/officeDocument/2006/relationships/package" Target="../embeddings/Microsoft_Excel_Worksheet268.xlsx"/><Relationship Id="rId2" Type="http://schemas.microsoft.com/office/2011/relationships/chartColorStyle" Target="colors123.xml"/><Relationship Id="rId1" Type="http://schemas.microsoft.com/office/2011/relationships/chartStyle" Target="style1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xml"/><Relationship Id="rId1" Type="http://schemas.microsoft.com/office/2011/relationships/chartStyle" Target="style3.xml"/></Relationships>
</file>

<file path=ppt/charts/_rels/chart270.xml.rels><?xml version="1.0" encoding="UTF-8" standalone="yes"?>
<Relationships xmlns="http://schemas.openxmlformats.org/package/2006/relationships"><Relationship Id="rId3" Type="http://schemas.openxmlformats.org/officeDocument/2006/relationships/package" Target="../embeddings/Microsoft_Excel_Worksheet269.xlsx"/><Relationship Id="rId2" Type="http://schemas.microsoft.com/office/2011/relationships/chartColorStyle" Target="colors124.xml"/><Relationship Id="rId1" Type="http://schemas.microsoft.com/office/2011/relationships/chartStyle" Target="style124.xml"/></Relationships>
</file>

<file path=ppt/charts/_rels/chart271.xml.rels><?xml version="1.0" encoding="UTF-8" standalone="yes"?>
<Relationships xmlns="http://schemas.openxmlformats.org/package/2006/relationships"><Relationship Id="rId3" Type="http://schemas.openxmlformats.org/officeDocument/2006/relationships/package" Target="../embeddings/Microsoft_Excel_Worksheet270.xlsx"/><Relationship Id="rId2" Type="http://schemas.microsoft.com/office/2011/relationships/chartColorStyle" Target="colors125.xml"/><Relationship Id="rId1" Type="http://schemas.microsoft.com/office/2011/relationships/chartStyle" Target="style125.xml"/></Relationships>
</file>

<file path=ppt/charts/_rels/chart272.xml.rels><?xml version="1.0" encoding="UTF-8" standalone="yes"?>
<Relationships xmlns="http://schemas.openxmlformats.org/package/2006/relationships"><Relationship Id="rId3" Type="http://schemas.openxmlformats.org/officeDocument/2006/relationships/package" Target="../embeddings/Microsoft_Excel_Worksheet271.xlsx"/><Relationship Id="rId2" Type="http://schemas.microsoft.com/office/2011/relationships/chartColorStyle" Target="colors126.xml"/><Relationship Id="rId1" Type="http://schemas.microsoft.com/office/2011/relationships/chartStyle" Target="style126.xml"/></Relationships>
</file>

<file path=ppt/charts/_rels/chart273.xml.rels><?xml version="1.0" encoding="UTF-8" standalone="yes"?>
<Relationships xmlns="http://schemas.openxmlformats.org/package/2006/relationships"><Relationship Id="rId3" Type="http://schemas.openxmlformats.org/officeDocument/2006/relationships/package" Target="../embeddings/Microsoft_Excel_Worksheet272.xlsx"/><Relationship Id="rId2" Type="http://schemas.microsoft.com/office/2011/relationships/chartColorStyle" Target="colors127.xml"/><Relationship Id="rId1" Type="http://schemas.microsoft.com/office/2011/relationships/chartStyle" Target="style127.xml"/></Relationships>
</file>

<file path=ppt/charts/_rels/chart274.xml.rels><?xml version="1.0" encoding="UTF-8" standalone="yes"?>
<Relationships xmlns="http://schemas.openxmlformats.org/package/2006/relationships"><Relationship Id="rId3" Type="http://schemas.openxmlformats.org/officeDocument/2006/relationships/package" Target="../embeddings/Microsoft_Excel_Worksheet273.xlsx"/><Relationship Id="rId2" Type="http://schemas.microsoft.com/office/2011/relationships/chartColorStyle" Target="colors128.xml"/><Relationship Id="rId1" Type="http://schemas.microsoft.com/office/2011/relationships/chartStyle" Target="style128.xml"/></Relationships>
</file>

<file path=ppt/charts/_rels/chart275.xml.rels><?xml version="1.0" encoding="UTF-8" standalone="yes"?>
<Relationships xmlns="http://schemas.openxmlformats.org/package/2006/relationships"><Relationship Id="rId3" Type="http://schemas.openxmlformats.org/officeDocument/2006/relationships/package" Target="../embeddings/Microsoft_Excel_Worksheet274.xlsx"/><Relationship Id="rId2" Type="http://schemas.microsoft.com/office/2011/relationships/chartColorStyle" Target="colors129.xml"/><Relationship Id="rId1" Type="http://schemas.microsoft.com/office/2011/relationships/chartStyle" Target="style129.xml"/></Relationships>
</file>

<file path=ppt/charts/_rels/chart276.xml.rels><?xml version="1.0" encoding="UTF-8" standalone="yes"?>
<Relationships xmlns="http://schemas.openxmlformats.org/package/2006/relationships"><Relationship Id="rId3" Type="http://schemas.openxmlformats.org/officeDocument/2006/relationships/package" Target="../embeddings/Microsoft_Excel_Worksheet275.xlsx"/><Relationship Id="rId2" Type="http://schemas.microsoft.com/office/2011/relationships/chartColorStyle" Target="colors130.xml"/><Relationship Id="rId1" Type="http://schemas.microsoft.com/office/2011/relationships/chartStyle" Target="style130.xml"/></Relationships>
</file>

<file path=ppt/charts/_rels/chart277.xml.rels><?xml version="1.0" encoding="UTF-8" standalone="yes"?>
<Relationships xmlns="http://schemas.openxmlformats.org/package/2006/relationships"><Relationship Id="rId3" Type="http://schemas.openxmlformats.org/officeDocument/2006/relationships/package" Target="../embeddings/Microsoft_Excel_Worksheet276.xlsx"/><Relationship Id="rId2" Type="http://schemas.microsoft.com/office/2011/relationships/chartColorStyle" Target="colors131.xml"/><Relationship Id="rId1" Type="http://schemas.microsoft.com/office/2011/relationships/chartStyle" Target="style131.xml"/></Relationships>
</file>

<file path=ppt/charts/_rels/chart278.xml.rels><?xml version="1.0" encoding="UTF-8" standalone="yes"?>
<Relationships xmlns="http://schemas.openxmlformats.org/package/2006/relationships"><Relationship Id="rId3" Type="http://schemas.openxmlformats.org/officeDocument/2006/relationships/package" Target="../embeddings/Microsoft_Excel_Worksheet277.xlsx"/><Relationship Id="rId2" Type="http://schemas.microsoft.com/office/2011/relationships/chartColorStyle" Target="colors132.xml"/><Relationship Id="rId1" Type="http://schemas.microsoft.com/office/2011/relationships/chartStyle" Target="style132.xml"/></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4.xml"/><Relationship Id="rId1" Type="http://schemas.microsoft.com/office/2011/relationships/chartStyle" Target="style4.xml"/></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5.xml"/><Relationship Id="rId1" Type="http://schemas.microsoft.com/office/2011/relationships/chartStyle" Target="style5.xml"/></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6.xml"/><Relationship Id="rId1" Type="http://schemas.microsoft.com/office/2011/relationships/chartStyle" Target="style6.xml"/></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3" Type="http://schemas.openxmlformats.org/officeDocument/2006/relationships/package" Target="../embeddings/Microsoft_Excel_Worksheet302.xlsx"/><Relationship Id="rId2" Type="http://schemas.microsoft.com/office/2011/relationships/chartColorStyle" Target="colors133.xml"/><Relationship Id="rId1" Type="http://schemas.microsoft.com/office/2011/relationships/chartStyle" Target="style133.xml"/></Relationships>
</file>

<file path=ppt/charts/_rels/chart304.xml.rels><?xml version="1.0" encoding="UTF-8" standalone="yes"?>
<Relationships xmlns="http://schemas.openxmlformats.org/package/2006/relationships"><Relationship Id="rId3" Type="http://schemas.openxmlformats.org/officeDocument/2006/relationships/package" Target="../embeddings/Microsoft_Excel_Worksheet303.xlsx"/><Relationship Id="rId2" Type="http://schemas.microsoft.com/office/2011/relationships/chartColorStyle" Target="colors134.xml"/><Relationship Id="rId1" Type="http://schemas.microsoft.com/office/2011/relationships/chartStyle" Target="style134.xml"/></Relationships>
</file>

<file path=ppt/charts/_rels/chart305.xml.rels><?xml version="1.0" encoding="UTF-8" standalone="yes"?>
<Relationships xmlns="http://schemas.openxmlformats.org/package/2006/relationships"><Relationship Id="rId3" Type="http://schemas.openxmlformats.org/officeDocument/2006/relationships/package" Target="../embeddings/Microsoft_Excel_Worksheet304.xlsx"/><Relationship Id="rId2" Type="http://schemas.microsoft.com/office/2011/relationships/chartColorStyle" Target="colors135.xml"/><Relationship Id="rId1" Type="http://schemas.microsoft.com/office/2011/relationships/chartStyle" Target="style135.xml"/></Relationships>
</file>

<file path=ppt/charts/_rels/chart306.xml.rels><?xml version="1.0" encoding="UTF-8" standalone="yes"?>
<Relationships xmlns="http://schemas.openxmlformats.org/package/2006/relationships"><Relationship Id="rId3" Type="http://schemas.openxmlformats.org/officeDocument/2006/relationships/package" Target="../embeddings/Microsoft_Excel_Worksheet305.xlsx"/><Relationship Id="rId2" Type="http://schemas.microsoft.com/office/2011/relationships/chartColorStyle" Target="colors136.xml"/><Relationship Id="rId1" Type="http://schemas.microsoft.com/office/2011/relationships/chartStyle" Target="style136.xml"/></Relationships>
</file>

<file path=ppt/charts/_rels/chart307.xml.rels><?xml version="1.0" encoding="UTF-8" standalone="yes"?>
<Relationships xmlns="http://schemas.openxmlformats.org/package/2006/relationships"><Relationship Id="rId3" Type="http://schemas.openxmlformats.org/officeDocument/2006/relationships/package" Target="../embeddings/Microsoft_Excel_Worksheet306.xlsx"/><Relationship Id="rId2" Type="http://schemas.microsoft.com/office/2011/relationships/chartColorStyle" Target="colors137.xml"/><Relationship Id="rId1" Type="http://schemas.microsoft.com/office/2011/relationships/chartStyle" Target="style137.xml"/></Relationships>
</file>

<file path=ppt/charts/_rels/chart308.xml.rels><?xml version="1.0" encoding="UTF-8" standalone="yes"?>
<Relationships xmlns="http://schemas.openxmlformats.org/package/2006/relationships"><Relationship Id="rId3" Type="http://schemas.openxmlformats.org/officeDocument/2006/relationships/package" Target="../embeddings/Microsoft_Excel_Worksheet307.xlsx"/><Relationship Id="rId2" Type="http://schemas.microsoft.com/office/2011/relationships/chartColorStyle" Target="colors138.xml"/><Relationship Id="rId1" Type="http://schemas.microsoft.com/office/2011/relationships/chartStyle" Target="style138.xml"/></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7.xml"/><Relationship Id="rId1" Type="http://schemas.microsoft.com/office/2011/relationships/chartStyle" Target="style7.xml"/></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8.xml"/><Relationship Id="rId1" Type="http://schemas.microsoft.com/office/2011/relationships/chartStyle" Target="style8.xml"/></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3" Type="http://schemas.openxmlformats.org/officeDocument/2006/relationships/package" Target="../embeddings/Microsoft_Excel_Worksheet320.xlsx"/><Relationship Id="rId2" Type="http://schemas.microsoft.com/office/2011/relationships/chartColorStyle" Target="colors139.xml"/><Relationship Id="rId1" Type="http://schemas.microsoft.com/office/2011/relationships/chartStyle" Target="style139.xml"/></Relationships>
</file>

<file path=ppt/charts/_rels/chart322.xml.rels><?xml version="1.0" encoding="UTF-8" standalone="yes"?>
<Relationships xmlns="http://schemas.openxmlformats.org/package/2006/relationships"><Relationship Id="rId3" Type="http://schemas.openxmlformats.org/officeDocument/2006/relationships/package" Target="../embeddings/Microsoft_Excel_Worksheet321.xlsx"/><Relationship Id="rId2" Type="http://schemas.microsoft.com/office/2011/relationships/chartColorStyle" Target="colors140.xml"/><Relationship Id="rId1" Type="http://schemas.microsoft.com/office/2011/relationships/chartStyle" Target="style140.xml"/></Relationships>
</file>

<file path=ppt/charts/_rels/chart323.xml.rels><?xml version="1.0" encoding="UTF-8" standalone="yes"?>
<Relationships xmlns="http://schemas.openxmlformats.org/package/2006/relationships"><Relationship Id="rId3" Type="http://schemas.openxmlformats.org/officeDocument/2006/relationships/package" Target="../embeddings/Microsoft_Excel_Worksheet322.xlsx"/><Relationship Id="rId2" Type="http://schemas.microsoft.com/office/2011/relationships/chartColorStyle" Target="colors141.xml"/><Relationship Id="rId1" Type="http://schemas.microsoft.com/office/2011/relationships/chartStyle" Target="style141.xml"/></Relationships>
</file>

<file path=ppt/charts/_rels/chart324.xml.rels><?xml version="1.0" encoding="UTF-8" standalone="yes"?>
<Relationships xmlns="http://schemas.openxmlformats.org/package/2006/relationships"><Relationship Id="rId3" Type="http://schemas.openxmlformats.org/officeDocument/2006/relationships/package" Target="../embeddings/Microsoft_Excel_Worksheet323.xlsx"/><Relationship Id="rId2" Type="http://schemas.microsoft.com/office/2011/relationships/chartColorStyle" Target="colors142.xml"/><Relationship Id="rId1" Type="http://schemas.microsoft.com/office/2011/relationships/chartStyle" Target="style142.xml"/></Relationships>
</file>

<file path=ppt/charts/_rels/chart325.xml.rels><?xml version="1.0" encoding="UTF-8" standalone="yes"?>
<Relationships xmlns="http://schemas.openxmlformats.org/package/2006/relationships"><Relationship Id="rId3" Type="http://schemas.openxmlformats.org/officeDocument/2006/relationships/package" Target="../embeddings/Microsoft_Excel_Worksheet324.xlsx"/><Relationship Id="rId2" Type="http://schemas.microsoft.com/office/2011/relationships/chartColorStyle" Target="colors143.xml"/><Relationship Id="rId1" Type="http://schemas.microsoft.com/office/2011/relationships/chartStyle" Target="style143.xml"/></Relationships>
</file>

<file path=ppt/charts/_rels/chart326.xml.rels><?xml version="1.0" encoding="UTF-8" standalone="yes"?>
<Relationships xmlns="http://schemas.openxmlformats.org/package/2006/relationships"><Relationship Id="rId3" Type="http://schemas.openxmlformats.org/officeDocument/2006/relationships/package" Target="../embeddings/Microsoft_Excel_Worksheet325.xlsx"/><Relationship Id="rId2" Type="http://schemas.microsoft.com/office/2011/relationships/chartColorStyle" Target="colors144.xml"/><Relationship Id="rId1" Type="http://schemas.microsoft.com/office/2011/relationships/chartStyle" Target="style14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9.xml"/><Relationship Id="rId1" Type="http://schemas.microsoft.com/office/2011/relationships/chartStyle" Target="style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10.xml"/><Relationship Id="rId1" Type="http://schemas.microsoft.com/office/2011/relationships/chartStyle" Target="style1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11.xml"/><Relationship Id="rId1" Type="http://schemas.microsoft.com/office/2011/relationships/chartStyle" Target="style1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12.xml"/><Relationship Id="rId1" Type="http://schemas.microsoft.com/office/2011/relationships/chartStyle" Target="style1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3.xml"/><Relationship Id="rId1" Type="http://schemas.microsoft.com/office/2011/relationships/chartStyle" Target="style1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4.xml"/><Relationship Id="rId1" Type="http://schemas.microsoft.com/office/2011/relationships/chartStyle" Target="style1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15.xml"/><Relationship Id="rId1" Type="http://schemas.microsoft.com/office/2011/relationships/chartStyle" Target="style1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16.xml"/><Relationship Id="rId1" Type="http://schemas.microsoft.com/office/2011/relationships/chartStyle" Target="style1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17.xml"/><Relationship Id="rId1" Type="http://schemas.microsoft.com/office/2011/relationships/chartStyle" Target="style1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8.xml"/><Relationship Id="rId1" Type="http://schemas.microsoft.com/office/2011/relationships/chartStyle" Target="style18.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D9F9E92C-FA52-4442-9BA1-D7747BCD9E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4B6FA7C7-6CEE-4A00-996E-106D3BA18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70C87B29-07B0-4311-B5F8-832A25D21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EB17DC4D-E377-44EA-AEFE-E6AA95C0E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F5E3520B-4C12-4E91-9C8C-1C321A53E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FA98B78F-B5C7-4695-B30A-300DA2DD5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EB5B633F-5C92-4C81-B365-DEE0494CA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BA4B0709-51AE-4BF1-970C-A6CC85300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2931E08F-8E58-47F2-B4C8-539ED1595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4A32490C-1401-4C07-9D86-DA5710871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F4DA4B33-3CE3-4DD9-80C7-DD1EA8E96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158D1F50-A559-479E-81FD-11F07A319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D3FACF43-9E93-4EB6-AC3C-325127227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1B120A42-6AC4-4EB2-9E5A-24F937497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8E70BC47-0BA5-4C83-ADC6-82C370D22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438D998D-D060-4F83-972D-F88AE6BB5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5DAF897C-1A40-4726-84DA-871DE7C86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C8F63293-D479-457B-8D37-65B55EC18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46BA4C2D-ABCB-407B-B9D9-4654A26DE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3D8F30B1-0D37-4324-B4FC-4E6DFE44F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4A628B06-D039-43BD-A0E0-F0FCA64ED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4D757839-1B02-4624-958F-247E2AD2A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C3DC7C22-6BAA-4FF7-BF55-08FD62091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01BC805B-AC01-4781-97F9-27EDBE028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FF6B6BC2-9AC4-4235-9A11-A0631ECC6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A319DBE5-F7FD-439A-8D3A-F53205167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264F793F-D8E1-4643-A35E-A595D3AA8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50950A4A-E88A-439F-9AB5-274DBD401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B0161386-0703-415C-842C-65C559B2A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452997A1-3C28-4954-AC24-C542C517D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656788C5-E85D-47B2-B115-EA8B8F9BA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C46CE8A5-BDEA-45E2-9C7D-8E6F26901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C49E23AA-DCC9-4E1F-BE24-CAA372308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5021E39E-6F20-4633-B0B8-861E148A1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0D49BD54-AC71-4A93-9BBC-6D37FB31A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10034978-133D-40F0-9ABC-B5EE24CDC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3F0751BD-2EE7-4198-8B11-280470B1C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90DF8AFA-3318-4DD8-9556-7D7E73DEC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315B2A69-30A5-4CEA-80A1-E7F462321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99F59B41-0908-43E3-ACCB-D445E1591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40FFCDD9-5BEA-4D73-B024-6CC54EFB9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5CCB7028-A947-4E3D-B7E2-56811BBBE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9836438E-2DB6-4CC6-BA4C-FF64115E0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86337B80-03C7-41CD-A075-827CA2BEE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F5A51170-CFCD-4876-9047-BD544418A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6FB31B27-9015-4400-B559-35B29D13D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5631E358-1C79-4AAC-8EF4-E662A4F82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F9F20ABE-6151-4208-A463-2DB6516E3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D5A3A3A5-3978-49DE-8584-8DB533472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749AE353-63D3-429A-9B49-D28B4C901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63D38CC5-207B-4DDC-8D36-40C3309B0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5E49AE0C-A451-4202-8E19-06189B50C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42C05CBA-949C-45EF-A134-9702211A2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9E1685CC-0F69-4248-A132-C05C1244C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8D5F7341-D06B-43CB-818F-0B644F391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92F8BC54-F76A-4914-BDC8-0F594CF1B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FB584DAA-2B0D-4904-8F30-8730672B8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F72CF5FB-D9A9-4E94-83BF-1BBFB71EC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D978E010-4F63-42AD-908E-C9FEFF892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20D99CDB-E902-4123-8A8E-34F622E02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1A233B4D-9ADB-4982-950B-DDCB6535D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7A659C5E-1D56-4276-8240-BCE25769D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1D771F08-9375-42FF-BA85-9F4ACD49F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B8E89DC5-82C8-4AF3-8D47-C7B5DFD44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AF433605-55D1-4602-8DC8-2C6BCCAF9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6BC054B1-93E5-4B4D-AF34-F82527854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282CE98A-2E4E-4307-95A4-DEA982706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8F3B6525-64B5-450C-8C5B-F03CF4A09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E6A05E27-DD1B-445A-A8D2-69722EA12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61D7A11C-144A-4CBE-AB1D-CDBF616AA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655C809C-39A7-4D7A-87F6-FAA63D579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FFACAE9F-EF6C-4704-8771-1CFC2212A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757A6E84-0D5E-4903-8F65-5B34A5028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8B4E4E92-A2FC-4025-AD30-3B4A7B284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DDC60E6A-5EAB-4AE4-A204-068DA8472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EF781851-7C47-4F53-B364-16030870E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766375B0-394D-4A6B-B475-CB73777A2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D5A38F74-FC84-4FB7-9B98-BE39CCD0C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E7418A41-9D49-4305-BCED-CDDB2A02D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455073B0-B2AB-49DB-B98A-54EA03347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A19277EA-045E-47AD-8969-9FD6CF70B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701F9AF1-3466-4C2F-9763-EF987731A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504A8E28-3534-4A5A-BD46-3A6BC4829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4A268D9F-2965-49B1-B138-EAC02D08E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6AA36B08-A79D-454C-B571-868EE6C59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0DD89B9B-83B2-4FB7-A48E-3DB008052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1446FDAD-7CD5-411E-840E-E3E3E9AB2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73453829-DCF2-436D-B7BC-7EC2DCF93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70999ECE-C4DA-4D10-9130-003C67058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03FE7B65-B1E5-4150-8DFE-33DA080C8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411282C1-AFEF-4A58-80AD-53D8AE6B6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1E51CC56-5763-44C0-897B-C44A2F19F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75CB8357-5E40-47F7-AA4D-776578B02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DD5ABA44-115B-451C-9D1C-8AAC46DDC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FE9AD131-A6F8-49C4-ACBE-85E01A387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E59087F9-707F-4D34-8B04-8699AF265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E9D7D3C4-0389-426D-B5D5-082ACEB8A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BCB89117-3280-4941-9897-78FFA3A7C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AF302B2E-E976-4ACC-AC9F-90E11C57D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04A7B196-CC07-403A-8C5E-73B5DDE9F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65BA136D-55C7-48E9-B6CD-3C25CC16B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9797AA0F-D583-4659-8033-504FC0E0B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DB5FC85F-78F6-4A2B-9EFA-DCAB34559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35514C38-73FE-4A28-B2B0-95BDD96D4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50ECEAFF-69E5-4009-8107-07650C55D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B97F9C19-BA35-4BD5-AB79-70EDE3FF1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50E814FB-4E3F-4FE5-A443-C8F7973E5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F497BC92-2853-445E-8BC2-A1C4D255D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36409A48-4A4B-452A-BDB2-85478A6B4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B073DA6B-A2CB-4725-A58C-7DAD6DE3E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B57C7099-9435-45BC-A565-3570AB81E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A7D46B38-4D09-41AF-A210-06F8969C3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B05059CF-7A26-4B5E-BDE6-29F55250E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42086D6D-A2D8-4CB6-958F-5E8BFB2CA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B5430D76-B88C-4B00-95D1-5DBDC0659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6E440ED2-B077-482E-8711-438D6DF71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A437B8D4-4760-4BB0-BB03-AC1DA7E2B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218FEBCB-DE62-467B-B83B-AB015852AC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E8C1BAD5-E4B4-433C-B1C3-BBA78A443B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FB93EB9-75F5-4946-B97F-808CA60CED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4B06519D-72A6-459A-9502-1BFAE875AD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A290D1E2-3676-488D-9FC3-606028960C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68485C02-5DB7-4E20-A689-CF59CBDCA8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E8EBA9AD-E173-449E-B904-D620F91B5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2DD0F5FF-34D8-40AB-940A-1B6288A015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431B6B59-8424-40B6-800B-AC46F13385A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EB79FFC-84B4-4516-83FE-DA213F98B5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61AD18AB-A6E3-4585-A90D-F805E249DA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0A357B85-4D19-4EA0-9814-795F64FBE8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9ECC1A5E-6E99-4D3D-81BB-1DDEF855E97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4DFDD914-78F9-4B33-A3BD-450697B722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D1A8ECBA-7379-4190-B4EE-CA06896EA9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6C4BA25D-0543-496D-8A09-6E2D59380A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EC104368-B030-464A-980B-6A3C40E1FC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9CE054B1-EFB9-4707-A40D-1D6ECA1BD6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9CF1E8E2-6F42-4D60-AB31-902C566817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0E5F7F9E-866D-47B9-BBC4-7EF5AA0E35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1E9D8C40-F54D-4A48-BE26-5FC10C0551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F5D4B01-C36C-4CDD-AA46-0E4F35A2B2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3DE7A897-5C4B-4388-AEE0-7122E06F17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E1858DC1-C863-4A3A-95FE-9B70920FAE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51C42CA0-45E8-4145-81A6-AA9541A7ADD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A6CA921C-84E0-4B66-9F07-08DD50AD83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DE68D445-F5DB-4580-868A-A444F4DC286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159196FF-24FA-40C6-8D90-7493DAAD69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D428CAF1-6DE9-4342-B942-8695C01E08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5903E165-82FD-4AFD-A789-B3A5E44E9F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AD3F6B11-CE7C-4AC0-9035-48F21E4046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1FD94DEF-F39A-46A5-92EC-FCBEDAFFED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92DEC81-1EC5-4278-BAEC-C277BD4F63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D816A032-F751-4718-9ACE-DECEB90E641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7317B241-8794-4B94-92FB-69FF951C29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0F7C4F40-F04C-4120-9B8D-CC4BD444A8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C281D1A4-DC65-4ED9-BE9D-5CC0787023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F2BC3D7D-6D49-4102-8671-9CAB1315C51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D90C9D81-CCCD-4FDD-9AB1-CA2B424A43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56CEF8F2-8792-4F2B-BA37-CEE8C5B1FB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826AE163-10E4-40D8-9D78-B36EED477B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039042F4-09E1-40B8-B2BD-0791281C3F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EC103CF3-C22E-4602-8375-9AAF9477102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7EDABE4A-E3F7-48FA-99B3-32FDB8EB2C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C20B663-96AA-4C61-ADAD-CF79CEB4A2E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48DCA69F-3D3E-4135-8E43-05E449A891B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120DA8A3-DA38-4605-B05C-9AC38DAC93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581EABF2-7AD6-43C0-A836-7BEB87C2F0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E421F7B4-5C35-4EA0-9A61-4303A0BDCC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2388EE71-F46D-48ED-8E28-F09F9FD5A9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675FA01F-B8D8-4263-9C29-8648EAA321B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8C1BE091-B080-47AB-AC27-A86F930998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821B21EC-F4CF-4675-945F-601AD3096B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59F1B923-B59F-4BDD-8A5C-1D75E812F1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00ED7752-3E0F-40FB-BEF9-F1F8AF8A018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F660BB41-4087-43D3-A767-2430BA277D4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80575F2B-1BFE-4AA8-920D-5589AED9AC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C9906251-7B60-4931-823C-72DC9C72370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1DB3BB90-1092-4486-933F-8D5F1A3357B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695CF37-56C4-47A1-9561-E7E96A5FAF6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63D0B680-610A-4C85-8235-855ACBCACB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4639F304-92E9-4220-B671-226EB7B8400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65D9EB49-7713-4FBC-BCAF-ABD9A8B3DF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B58A9D2-9C7C-451B-954A-141C605AA3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8C524E2C-B052-4116-8577-350E0E9F55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8EE9DE87-AC2D-41B4-8DDD-F3325FFDB3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4FC14C53-3A6B-41F5-A33E-D6AA68C89E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BCFFD0BB-6811-4060-8B9F-CBF7D657B5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9A8A94C8-4EF1-4995-B74F-43669EEDCD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D0D00A88-84F1-411A-90CA-D570D3CF1D4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2BB89D8A-CED1-471F-B38F-E6A15CBDD6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4825F3D9-384A-40A1-A3EA-3CFF2EE47D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A4CA3ACD-FAEA-4F83-96CA-FB042697EA1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D423F050-4E18-45A3-8CFA-5429364DE92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5192D7B3-D0E8-464A-8B18-3CCAC6E116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70D1B89A-3C30-4B1C-987F-D92B631D18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3AE196D4-C18F-42A1-9112-0E6CEC1C5D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C90BFA26-CF07-493B-B7F9-396E54E69A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BB3323E8-4771-4671-9CC9-FBF68A7C83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25EF06D-719E-44FB-B238-AF3684ADAD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227AC6B4-536D-4335-8B37-C5C22E26EF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81435F41-F762-49D1-9D54-6F72A406F3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2F076EAD-2D98-4EDF-8840-789173B252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FB415E28-51C0-47D3-BB6E-959CE5EDD8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4E55F3CC-4A0F-412D-9CA1-87425200996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11EAFB5-2BA8-4264-924B-A2E940B3E4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FB452B13-7C0D-4311-8D90-1F97C6E590C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B1F51BBA-C24B-49AD-B67E-D132E33652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1B08F79C-9FDB-46F2-8036-E66BE58170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1030C489-40C3-4870-A1F4-86D548BADB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01D78636-0BCE-438D-B8B4-4A8B856590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BCEF832D-EBD4-4E59-A8BE-CB232FD1A2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AB2AA1DA-5AB7-4083-B2C5-F15AE1F997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A7C68382-ED0A-45B4-AE56-BBDC2383D4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7444B06F-4E71-4771-B8F3-AAE77355D7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7AC5E522-E052-45DD-82DC-4090B21554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A5C6A0BC-D2EF-484D-B676-03B1AC4AEC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170299B-C718-41AC-8861-8DCE853362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3D0121A2-5E63-48BC-A5D6-977E647865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350369B-4373-4528-AF77-0EC1604B06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6D204820-4D68-4A50-A4AB-57A91D5D4A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3CCC28A-20EE-4275-AE88-09D2418C6E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78F706E-5077-40A8-BE23-009F5E9B22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582B502-A3D8-4359-9932-8421A7AF57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313EBCB-20E0-4FA9-959F-75F61E7C55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E341076-A6FE-4811-90DF-40AA7E5003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85537DC-519B-4361-9D1B-7AA6B5694D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D6BF5CC9-651F-4B64-9AFA-1A73531370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DEDC6CA-081A-472A-96EF-6A73133493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216E1A8B-60BE-404A-8950-868622E64C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82FF66B-2416-4065-B166-CCEFC2AA67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15FBE2F-B313-43E9-A670-D9E4218ECE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3755D66B-82C9-49F3-8B51-B77084B40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686903F-4E50-4097-BDFB-88355A8B18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506BEF4-4E38-4676-A002-E6DB6266DB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12FF541-73DF-46D7-9F04-29195B6C5F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B99983E3-F8B0-4985-A67E-0A1AC929CE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2F31972-F79E-4A6C-A244-15BD752DF0D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BE0FF6B-C8A1-4CB2-A9A5-BDAD4A3271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A95479C-2EFD-4BAA-81D0-A0A4098D3F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03D0E593-6C83-4CBE-A6EE-7C1A2405E6E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1559B190-B876-4C69-9203-943E4D726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673B27E2-BF24-40A0-95B2-59B3958815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373AB27-7B19-48ED-9C80-5EC73C7889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5901F54-F7C6-4094-92DC-C5963FFAF4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92D5C5D2-809A-4641-ABD8-977083AA98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BE064F9-046C-426C-9A8E-BD224D70D4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90C6B98-FFDB-4EB4-BFD0-F2740DC27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9B201F5E-6ACD-49FB-9DB8-802E0D8A32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DB635168-46DE-44DD-80C9-2BAA8972B5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D9941AE4-070D-4FA3-A90E-8B8787C9AE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0A123567-4B24-4DF5-BFAC-6B9D3BB6F27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F38B85B1-7FE5-4193-A6E8-7B43AF0D72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A69710E-D512-42A5-AB3C-D1D751A2D8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6D3749A7-30CE-4691-B43A-BD85CE0CCC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4967A8C9-8EE0-42AA-8CDD-D3CEF976AD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2BDC042D-7890-4821-9737-F77DA78958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FDF57797-2F4B-4D4D-91DA-82B993CE77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3C8FDA62-BDC5-42CA-B66B-26CF20EC26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BC26B423-5E48-4FAA-A7C4-FF853BA3BB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1EFE6D2D-A410-4542-891D-AD273A841E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11D31376-9D85-43DF-A3F9-EEDD1BE976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0E08EE18-1D0A-46C9-9988-7C73739A89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ED58A1D6-B62A-4EEA-B2A7-FA09EC67AB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A7091B4C-1B5C-44F1-AB69-9307C77B25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1E77E986-EAEE-4FE3-AFF9-A3467837F0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0509AB9F-D36F-4FFD-A493-B0B9B81FE2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13BC68B2-72C4-4F03-AD8B-0A89AB6D1D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CC2B6222-3D30-4E4D-B1A7-6B247CF12A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A1C126F8-3998-4F34-9E98-4A266FE6149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8BF12615-8AD4-46D0-9766-1B501433A5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833CEB83-BA2E-4A38-B383-3DE10A3D76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74D22856-7DFB-4B10-BA0C-5B217DC0BD5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70599E9-C0A9-4D40-B2BF-289B0BA457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88A51E52-89E5-47B4-A60C-211C9572A5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4D185A11-B05E-49A1-8B05-330FF2A4121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93C5FAE-A139-4BFF-A5A3-E6992B9C53B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3C395288-B771-4668-B0DA-B236F78AC09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7D76F913-A4E3-4B0D-B00D-1D3DC4EDFC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18FA65D4-0644-41C0-954D-425401A814D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26AF9FA1-BEC0-471E-80A0-18E725F29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C3940BE2-E2BB-4BE5-AD2E-3919F1EE7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3B9EDB9F-803D-4270-862C-09CF3D35F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0DA3F473-FE8A-4AF4-B463-3BD1A7E38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74F45DEA-48C7-4116-A1B0-779A09A7D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835EAC7D-A1B0-4CBA-86A6-517BE756C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286CF64C-F9E4-4811-AF5C-104531B53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1EF2AFEE-6863-4C3E-AF5B-71CEE69F8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8367A949-3A68-49D1-AE69-56CB8AB1A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B87AF6DA-B9DF-40DA-961B-C04093B69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0762BD0E-FBA7-4A2D-9F4A-F7D261814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CE375A0E-0140-4108-A9E4-35F535560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E0CB84B5-BA1D-4A3D-A47F-E51CA97E3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1B52B234-2FDC-4148-863B-E948A7788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5E5C9764-3E0D-4804-8352-A95483F2A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909AF4E6-9477-40EF-9FB0-F2713764A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043C3C2F-9B16-407C-9AAE-40A72B1D3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654B9FC4-5B20-48B1-B3FF-96747AD43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25D7E650-05D3-49A6-93B0-E95888701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41BA6842-C4AA-42D0-8B29-D64311EDF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C3939AC6-A087-47F9-A11C-AC342070D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E750C224-18A8-46C6-8BE8-213A98A5A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78C16497-E9A4-474B-80FD-BC667B66A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8DB7BF15-04AC-47A5-81A7-B0147D7A0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2179AA0F-6DCB-48D5-9289-B98FB4295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E6B42013-D4B3-459E-BCBA-92BF48248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F5C853D2-3649-4A9E-84FF-CC4A4887E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75B902C3-91C6-46B0-9D39-88578A3FC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E822808D-727B-42FF-94BB-D5540D2C4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58CE444E-7E90-4754-8DD7-B2D1E2D79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5BDE945E-6DBB-4F67-9A97-A74359A84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D6464905-2D47-4ED9-9AED-65C13F3CE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B2268B70-E42E-4CE5-9489-99EA78E42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C38A16F3-19DA-48EA-A1ED-ED8B4FB4D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15317527-41F2-4C31-800C-DB5349962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63B437BD-C98E-45C0-847B-3DF329245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248F1FEC-2072-4DEB-AF8A-E190F25F8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9E4D2474-F3BE-4F82-B2D1-3FF568D24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F9691810-1C32-464C-B722-892583465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643E90BF-4B03-4088-8EBC-E7FC86975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E13FDA11-7051-4E44-AB27-785B0282E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C0F4442D-5780-40CA-8B29-143D30105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3047DE91-416C-443E-8A25-6DB6690A0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CAF83FAF-3FDF-4DF0-B8A2-FBA286270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01AD22E4-4F20-4D58-BEBB-CCA1929F1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A0E43075-BF83-496E-9708-AB54D4A16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F08998A9-5065-4F62-A0B1-0B6DB233E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11CC843B-3342-45EE-8DCF-EAFB90457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C42D9899-AFF8-4BC3-A8C8-C42ED2763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DA113C99-77DC-4E05-A77A-E9B8FE494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E93B81F5-3D42-4E8D-9FE6-913681462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7DBE2F10-DDF7-4194-8EFD-1A1059D6C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8EB0987F-7636-4F61-9C2D-8B2ED110E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58ECD362-A0AF-4D9B-B57C-ACF1F5C5D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B821CF5E-1AFF-44FA-8E4B-511A59CBA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41793534-A2C3-4974-A1EA-27DA9EA09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8BB5FA97-3683-48BB-96EE-7B2E1994F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0CB9E980-3E0B-461B-910B-258A29F50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DD18D35C-3B8C-4BEB-B5E1-8FACAE388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35E41580-1354-49A7-9EEB-BC0F9366D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961797EF-7326-4C3D-A7D9-49186FF38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57DACC48-6618-4D75-B9BB-BDCF34930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30606BE5-4562-4F3A-A65C-E164A171F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AE8802CB-0472-4AD9-B52C-3EF675F40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0AA096DF-39C1-4B23-BD85-8A109312F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EEF5EA34-CEAB-450B-9B9A-CA5886D84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4CD27C47-FFEE-456D-A425-2C1417CD1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D159DCC9-413B-40B4-A564-B11953935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C37C06EC-7B13-47B4-AA09-1F7EB5607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5FD542F7-6EC5-4A96-AEE9-C74653CAE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8E941A45-AF50-4077-878C-DA5B27CAA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9DF1A7FA-B7CA-405E-866B-3BBCE4B07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830A0659-7565-43F2-857C-D39C42962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780822D2-8AE4-4A5D-A40E-9F7ABDB73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CFF01D1D-A6A5-44E0-9ACB-B90DB6080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097A5BC8-772B-4738-8952-80447B110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F9F4FC6F-4CB5-4CC8-B2F3-64E147087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5CAAE153-002B-49FF-BD6A-54D8384EA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86BDF110-3AF3-4D6D-AC68-7BC906BB5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CB607BE7-B67E-4146-A116-01E9D80CA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98FA6B6E-6CF0-4677-846E-6B50F9302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1913D239-D13A-46B0-B463-90033FA68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8042B750-02FE-4E48-A8A2-33F87CC37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5DC91146-CEDD-470C-9E15-6B140C053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AAACCDF2-F196-4E16-8BBB-D88EAE46C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646B0214-E3E2-4B5E-BB06-0EE43900D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4FC3691A-5CF4-4A26-A005-D64D79432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B7AC374D-8E87-405E-8A47-A36BDD1B8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B13A28CE-2AB9-4239-ABAC-E35C4DDC5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42F3BEE9-9060-419C-93D4-3E5C8956F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0DBCB0DA-E7BD-473E-8173-91C7902B2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8FCC1FC0-ACE3-45DB-959B-91A23F283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31174C97-518C-41D8-854B-754D29D74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365A1E61-25FB-4C07-BF26-E77AA5D08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CC915857-E065-4B2E-84E1-0F127BED2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0637D128-0EE1-40F2-9B06-A7C047CAD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9F922E91-3EE0-467D-ADB4-28A968A4F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120F3D8E-EF5C-47AB-B58A-B643927C3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D8C9B8C6-C9BA-4F76-BA13-CDB19D144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883D9CC3-9B56-4EE6-ADD1-5BBB6F2CE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5478A093-ABE4-4FEB-A2BE-0138293C9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0DDB2723-FDFD-4CD2-BC83-84BD9A4B4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EB4AFFB4-E077-451B-A827-4D66D1EAB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D7474741-B2ED-4CA9-BECD-2A53B6012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8EA55734-21E2-48A6-A44D-FADC612F3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C23D2DE4-0070-4D78-AB8F-D3FD7323B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B243C01E-A272-479E-A879-C23E0FC01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B7D97159-DE72-491A-B090-9F887BD22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38023CD4-90A0-438E-9C1C-5F5C15700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6309DA64-B1DB-4201-AECB-D131D2B59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050B6636-DFE4-4D54-8D1A-E405499D8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4E2B3769-C3E5-4266-A11A-A5A77ED3F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C8FE9844-DCC3-4C63-9433-A9BC1E9B3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3C6B7BD5-0F86-48CE-BDCA-FEB875845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E4A2DF3B-4E8E-4E18-8BCB-2D4597067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B1D90EC4-9037-4EEA-BE6D-3F0AFD95D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0F47D65D-FB39-4793-A740-E1BFDC6DA3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2AEE1690-D3C7-44A1-9274-AD6470CC2C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22F33CAF-5DB5-4E59-B495-D0AD1F1C52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D130B4B-86E2-4549-A277-EE801DC899B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B40D2197-46F0-4CAF-9D90-76883EDE43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13CE908F-63EA-4484-8A04-11AD93E1E7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48F8AF9B-B195-49BB-A290-568B4E9538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B64221BE-5203-4FDA-A004-7332C249B8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26AD9D2B-F645-4E31-A578-A647E0FB092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C34B86B1-AA73-45FD-B9AF-317B93E39B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3A71026F-36EC-4499-90E9-FEDFD8BD8B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70F01752-91E9-4525-8CBB-A751215929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B2D1C03E-0543-41E2-8DB4-3C13EBB69A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C016C397-6EB9-4CB9-9D1F-A0916DA5C9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E9EA3595-EA45-4EE5-BCD8-FF3E02DCF47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0265A6E3-FF0D-49C5-8AB5-A25218E94B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6DA1E96C-89B9-4A9A-97B3-95CEBA72B2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21FAD5D8-C2D6-4FF7-9D92-A59CBA5332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05171561-EA5F-4ED4-8A34-A39CFA1AB0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4E4651B8-6BFB-4419-9C0C-04AF8EFB30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CC10D9BC-8A8D-4213-92F5-5456298E16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91A454B-1182-462A-878F-438B9395E78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D2885787-4146-4689-AA77-39CF660EF07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DFF64B5F-9E86-4E02-B0A6-4C1F990EC2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79114FAB-E229-45CC-A5C8-ED5D03095A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5F3A90C5-79B8-4D05-84D8-04D87D287A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AF1ED751-A250-4113-8523-0A55329A376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4DCB32BA-B30B-4C3B-BE9D-2DA126269B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8AFAAA06-8A6D-4436-8245-F6010A32AEC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C8C1C32B-E5C8-477F-9245-220EADD5431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6CBACEB1-2CEA-4F13-9127-0C43A26184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11FEA009-AABF-465B-8242-3892196FA0C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EA24BD42-B976-45B9-B851-B3C7875998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3F40B5E9-E794-48D6-A575-3606C534D0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B46D1CA-BF3F-4586-B240-A373C7B076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0E87EB22-3C48-48C7-A88A-2785E03A9DF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0F7E563-B0CC-4E66-A011-9A0E47A9E9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E48248FF-9A1A-4138-9E54-32B7C4FE7A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196DBD0B-1C00-4381-9FE5-17C24B365B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04714AB8-9C81-4DCD-80A4-B508074A57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A4C0FD1-EDEA-4434-BCA5-9F237CADC0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F8AA3CAD-BF34-4863-BDC2-9CCC40316D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ECAA5131-5428-4C72-B3C1-D12A30811E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D305A900-5CE5-42E0-A623-CF92F89C97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AD3C73C-928C-4219-83AA-4C1B517C3E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C7160C6C-B0D5-4A39-A5DB-72B7235C3E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7BAACC6F-1C20-4B7A-9970-30EFC939D7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C6FA5EEE-7416-4083-A948-6FC9D6490E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8015218B-44ED-43D1-9228-4267D11718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F2836EC4-D8C5-4EBD-851A-F02BA88246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65012A13-35B3-4669-98BE-FE696AEFB0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BC76F3C7-1ECC-4A54-9E7E-BD4CE50126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551B3A62-2C24-4199-A73F-96CEDCE507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398490D-8AA9-478D-89AF-97B3698A79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DDFC3E25-C094-47E3-82D4-63BFA221DC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FDB9347C-A9ED-4AFC-A57E-A718FF4DAC9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F3490783-99DF-4012-99F9-9E3EA5EE764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2EAB752A-2FE9-4ECB-8A55-6F1A93271D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461FF037-69AD-490E-8800-D2DE301131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94AC9AD8-C617-40C9-924E-9016A199B5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129E4204-BD9E-412D-A2D8-D2F6263196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A505B2B4-8DE1-4CC6-853B-01D7D3C9A4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46EEEAC-0655-4A5E-8B87-E812ED5F034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84A4B60F-C17E-4F7C-8BE8-1DACD892558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8353352F-0B34-4C9F-95B0-A87D849D553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5C2A90B3-8A73-4B37-9A82-634AB47D97D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5FC07BBE-86AA-4714-A8CE-055DA2AB3C9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2289BB83-00BB-459F-A23A-7C21BA64F0B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DF64F48E-F60A-4079-9EEE-3FFBC4725EB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F7FA630C-4B4F-430C-BEA6-32ED732440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18E87323-0C7C-4081-9219-EC247BE533F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9D9992DA-EB5A-41F8-9EBE-1D46AE27A7D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7633AA08-6A75-4397-9392-A543591758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B0FC520E-7C29-4F92-95CE-02BB2D55D9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C7831BA7-CC38-43B5-8FB8-9E88320DE0D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E3BAB61A-098F-4870-B9BB-3C75121521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BC36BF53-8E84-4986-B207-A6905FACE8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CC0B4C1C-BC0C-4A4E-ADCE-3F11A1FDAB7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AF228302-69FA-490C-A712-51A249E8419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182F6150-042B-4D30-8722-2D2708D8875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80EC0C65-7C72-459E-8DFC-3EDAB04696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8F1EDF34-BE0E-4E98-81E3-ECB5CFBB9D3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5F588286-580A-4726-B1FA-CC22B751E1C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93E93422-7671-4AF8-A311-E19B1256287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F2B5056F-A641-46DE-99E1-80D4D3D4A2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606C0F32-1F9D-4510-8133-4C35CBAAE6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BB089F6E-C0BE-497B-AE68-5203AFFA158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8624F36-20C4-4B0D-BEB9-AF5DD8F206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3C7C5713-326E-4908-A052-58BD5373AD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E24DD529-8F95-41E8-BD61-675E26D9615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B83C3CF3-508C-4908-AC17-15232D1C594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10702C71-C834-47CE-B5AF-8EDFEEAD9F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DC758B35-4924-4257-B819-C81E50A0F17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F422FA41-AFF0-4B2F-83A8-52026378D56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53346E33-D6BF-44E2-9456-FB6B3F7C695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081AE6C2-3974-49AB-B202-A1D7336E2CB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001019A4-089F-4FC3-BF4D-E459627A39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EC57D613-8E74-4683-AEEB-29D8782499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0D647EF7-B82B-425B-A0CB-3DDB4D6A2ED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C6A321BC-1422-49BA-940B-10BA8372ED5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978FA497-2FFC-4F8C-98A1-CD71CC984A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BEB09185-EAAA-4F29-B933-076509F980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7D9ADCAA-19F6-4681-80B1-37F06EEA611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2BDE65FD-BCE1-445B-BC58-3FF07CC79C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EA258BF3-35CE-45AB-A066-6CA69085B2C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F05CEA69-0F9A-4846-9D84-6DA7815582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6218D6D1-419E-4F35-8643-536A673A5B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3FACD459-D247-4909-ABF8-CD500A6D7F4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6EE2827F-CFEA-42D1-8441-9CF831724C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22D3900D-3034-4A14-82C8-2667137B08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A2E636C6-7295-4450-8E49-1B0722B185E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FB67F347-BC06-453E-872B-754157BDB8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4ACD4025-2E3D-4B1A-A512-885256353E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976A7BD4-D4E1-4D94-8C3D-E63A55E184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FE222C05-08D9-450C-9D44-3D83FB6B866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366B3C36-3713-46BE-ADD9-439C71A6E56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5A89B29F-710C-4D9F-A21E-5F3D4841BD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E07B9C40-9708-4542-B9B4-ACF6897116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F5611404-FE96-4545-80A7-6F3A506AB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531A4918-3DAE-4239-A70E-9AAAB3A2BE4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7A6A47EE-194A-4D06-8BF6-3FED820F843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C51B0D20-26A4-4B4C-9B8B-87D8FB5C675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0B1502E8-A0CB-4F3E-AB82-FAE32C644B8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AAFD4961-BB1E-418E-A2EB-CA2D39CEB45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1EE19B86-823E-40B1-B644-41AD813156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743229B8-68AB-4BC1-A586-4C0914D327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D9507B45-D708-4864-9F64-881DB659650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4A2D7CBC-DC6B-4369-8B14-BA5411D040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05D031A-6F1D-44BB-88E5-EDE6C763EE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63D15214-97C1-4A72-9F86-7FA73F9EB2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6F394D42-851D-48AF-A92F-8D3E328928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D4CC744A-6181-487A-9BD1-A6FD1119152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FD628D5C-E008-4E77-B7D8-1C87AAC0A4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C3CF0F2A-817B-4520-B085-C60496DEE8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EFB39C53-C12D-418E-A59D-3C0000E6EC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20322E62-C322-4270-9C7C-3F7C12B356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A0E06A49-AD55-4F90-AD0B-F1827F0114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E2D75297-56F5-4DBF-895E-1B7CF37215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B8E285B2-2438-4E70-8E0D-BF0BECF7DC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AE37DDDC-6C8E-4391-8B53-C3A794271E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874650F2-C1F2-4BB7-8C4F-1553C61376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5301FF54-67C1-4FED-9484-2449A9049E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F1304BE9-D753-42C6-A0F0-346273C693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AEA9AA91-3FA8-4B28-B7A7-8A3FFED71A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AE032D7E-FCFE-4B31-A378-092DFCB596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2A019A48-5969-4780-A994-DD53CAB55B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EE702B3D-C126-4513-90D8-9BDF93C1724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99A560A6-2958-4C66-AC01-5004063EE8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CC9C621C-867A-4098-AE14-8AE6AC5F7C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CE70DC3F-0D95-47BF-AC0C-2637536666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72B3F5D6-DCF6-4D5D-8962-3822B17807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930A1F7F-88BA-4187-BA22-F5E3EDF57A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BA62E954-3260-44E6-B662-F7224FB806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F54A58B2-36CD-4F2C-B442-3EFD9B5135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EE82C3C8-1B4C-4C50-8EA2-F256F96CE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B96C404-377F-41FF-AA56-175EA24B4B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77D803C-60E8-4B53-A1AE-A84180B3FD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41CFF536-7C1B-474A-9B6A-2490F90ED4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983BF7CA-6FC8-4C05-B814-3401BCD664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69CD7B-6DFF-4C2D-A1FD-955E52E27EA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53B97FE-6535-40DB-AF85-3149E01ABD9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CD1499DA-580F-4416-B543-6371C00DBA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1A41464D-03E4-4D14-9AA2-5C3BC8E38C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A900162A-08C1-4E16-8F72-2ED0B9DAFE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8573CB9B-5295-4182-AA78-68DAED6E594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734E022B-94B7-48C9-A54B-FC091BD22C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7EC49181-5737-4C9A-A87F-2E443C567D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72AE638F-9A0C-403F-99F6-2780070427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C18E1907-F020-45EA-B4C2-2A9E0637B7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CC2CA956-7C92-42A7-9791-F30C9F62A9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A4D0D668-7E2D-4FAF-8B1A-559794FC620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B4A09740-EA15-4916-A9B7-9831EE15D2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E23B61DB-509E-49D5-9FC1-914EE1B4C2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CA60CB1F-3CCA-4EF9-8BE6-A9360B38FD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65C49899-77DA-4F7E-BD73-6E902B9D913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0AC52528-EA85-4A77-8B35-457725F396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1A6A4681-2C33-42B6-B960-19B1193DEC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9ACEDE7B-6CA0-4311-9DB6-C3ECC4318A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D3E69251-B29B-4AAE-A626-5F17F3646F8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9CE5339B-B1C3-45F5-B8E5-12CF441B32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20DB4D5F-FDBD-4D22-B868-988DFA0993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58D63CAF-BDAB-4897-B0C0-E3BA994947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0B78C356-F0C3-4565-B986-94F88B2C39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0B5B0CAA-913D-44AC-AB94-126EB31123F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F7793495-7690-4495-BC5F-AD35BFF84BD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01C43D97-CA57-4602-861B-7F40037D93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EB5144F6-7331-42E6-9968-D9EC388CCF4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618F8953-AE0F-43FA-9E02-D5E0081859A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4552892C-A999-426A-ABAC-DE256E0D1E1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477AE52F-8725-4F97-ABB8-E3D76E8271B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85BEF723-B7DD-4D0C-BFB4-BF458FEA9B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847DC5BA-B68A-450E-B01D-FDEE5A80D3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F11C43BB-1A33-4FAE-9778-45FE80910D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53001A58-0359-49CE-9702-A49F261613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FAD27EA-6189-4276-899E-7A5E1BEA7B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7BA86ABC-366C-49D1-9919-E690AFAF4D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21E12375-3FBF-4422-9DAC-B57E6E20B3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6FFB485D-502A-4308-BA9A-0CB17F38B2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4A7379EA-B9FD-42FE-BF4A-9B56A50473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6FA96740-CA6F-4AAD-AC55-FC1BC68B50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20BDB04C-6DE8-4484-BE49-424B0B1B2E4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0B64701D-A5E4-4BC4-ADBB-D227FD9E91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769659F6-1A13-45CA-95EB-E110BE6ED0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D6E456DD-0651-49A1-9536-001D7770A6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416C6C4E-1301-4232-9929-526094A288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0196271A-636F-40C6-AC64-8406DB8DC8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71EEED36-13FC-43BF-B8E0-F143682587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1A1FAE61-34C7-4A24-8A21-BD2AC2CDFC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41A0DD38-B59C-4172-A25E-E36DA5F899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66DA43E8-F026-4F52-87E9-C5F82C72B5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531768D5-2A25-4AC5-B0F8-068F71ACC9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33F3986B-281E-4E33-A362-FC2F4F7367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62A66D41-9F36-452E-A9AB-1511730B8C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9E4464C9-85A8-4087-A2A2-CC22C2C47B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D738736A-E85E-4E4D-AE6B-6B23E7E833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E4930E9A-B5BB-4404-9104-1197AEC5D7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EEA5513B-2684-4BA0-A0DA-A932562006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F5D95F1E-CAD8-4647-B2F1-0792C1F2FEF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F53B3962-C338-4E08-8B88-60ED80CD85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25C1F853-7B89-447E-8AB7-F50065DD0E3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4E50815-FACB-42B0-8547-A8D2684113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D461824C-9F4D-4C5F-B23D-55B65D8F2E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6E865836-6C43-4339-9864-0E48C5A4C7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5B6E7CA1-43AE-4F6F-A2F8-C33DC521C3B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B366C92E-3376-40AB-AC07-C26499476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5480CB12-9261-4F9F-A78A-2F7643E17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E222A553-CAA8-40DA-8EE9-5667FAE02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95BE75AA-D243-451E-BB96-BDDBCA502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E400D74F-4AE5-49BF-92DB-B96775B33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2F25CA69-A9B3-4138-84DB-245CE9BB3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9C50A78F-16CE-419D-9413-14144A6B2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E0F95DCB-2D68-4037-93C1-A4E416ED8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8CC31790-0EC0-435D-BCA4-F79E22D20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CE48A05B-F4FD-49B6-92F1-ADDF68316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4B97C260-05ED-4C81-AC1F-7E7297CE9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0A73EFCB-0515-41F0-BD65-D115AA43F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6ECABAD4-07A9-4804-B508-D33E54B82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79EA23A0-450C-4CB7-B41A-9F523128F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4795BD66-4915-4783-9F93-E7126E398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29211C13-B053-4594-BC53-62842C94B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8C89CB2A-EE63-4687-A64F-755A1BDF9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FC4CB31E-A612-4E99-A6C9-C3A788160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4DBC5B77-A4D7-405D-AFBB-8F8B69BBC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4FFA861D-FB3E-4AFE-B6A0-5774E52E6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58FB07D0-EE5C-4B9D-A44F-4D6B38CFF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32F2A593-D072-4A61-A9E7-CB0C74043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4899809C-4ACC-4A29-9D13-D80E5E9C3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4528BC13-D9AA-4287-B67E-5CA9BF553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27D0D834-A37B-48CC-AECB-C8F69B5DB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30661F24-43CF-42E7-A937-DAE4DDE67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DD3201E0-C77A-48CC-892D-8FE8A78B5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E6984D61-6E05-4382-B1A5-86B64CB39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EC8CDCC7-43B1-4C25-98BB-118043FE7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8AA6E22A-5FD8-4973-A617-E8B7C0267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4700794A-52BF-445A-9AB8-256902348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AD22FD4D-0350-4F0B-B6DB-2FD04F35E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2D4B647C-6E82-46A1-82B7-142013C60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10F7F17C-661B-4F10-BE5F-85F46816C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2A5A8C69-3953-4D3F-BE77-D7C13E987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25EFEAA2-3155-4F6F-A5C1-1BE5193E9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75C9980B-3DC6-43EE-8627-761EDC7C6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AC7E2734-0D43-4B6F-9BE6-8AE3EA3C2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36D7A25B-D0D7-447B-A722-EE9FCE829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26583BAE-629A-4B49-A908-F023FA0EA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378927C6-051E-4576-8D58-03A7BA187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2F1069C3-7253-4B8B-8C21-C3766B4AB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2AD24B84-4B18-457E-9F4B-3ED263C0F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095F5210-2C44-4DB0-B783-E6F6D7DFA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9D86057A-8A15-461F-83F7-9F37F8566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7BE4C7EA-2411-4117-BAC2-93E288F6C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68DFF3B7-6B3F-4384-A4DA-23C89953D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5E065E1F-FA24-469D-AD6A-FCFE1FF24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98AB6AE8-288B-47C3-AE58-5339F8B64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D32359CF-D52A-4B46-AF09-F8AD984BC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3FA87941-281A-4AAA-B88D-812C998DC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4B6196D5-D46F-4A6E-89C4-346225F3E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B0B05E18-99F9-4944-B279-120F215AD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4FBC7400-1FE9-439C-8A2C-58F842CCA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51BC59F5-058F-4AC5-8A26-403CFA339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428150D1-423C-4C14-842F-47F4E9D44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60814B31-72AE-4E78-AEDA-1B783E440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86ECE08F-53A2-4B6F-8A49-99E835EFC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1F6D2798-6E85-40CF-A0DD-60A741188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604C2D14-71A5-44CD-A9D8-92778FDC4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B8C6794E-0934-48E9-9789-495AC312A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7F89795C-BCC7-403A-B9B5-241AF724B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A95468AD-0E8C-4E1B-88E5-70274B23D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A52F4F7E-4FBF-4806-AB8A-82B4C64FC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B5A15943-16FE-4C48-8FF3-BA2EA9F60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1F18FCD3-DA2A-47A8-8C7D-026C59995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E409D4C3-B0B2-4CBC-8E89-242CB7244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E6E560C2-A384-452F-BB55-3CD9621FC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9584961A-3399-49E0-9A2D-B0A989924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456BFC22-8BBB-41F1-BDC3-C9B880147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8B79A2B4-F86C-4E73-A975-66B65D670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6B826884-8D74-4F54-87D9-D680238CD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51AF0314-4144-4E92-A857-6FDB04B2F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F93EE85B-D2CD-4BF3-9A3B-6FB500960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431ECEED-71A8-437A-A365-0C19397A0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BB37690D-D583-42B6-81FB-1E02CC782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BDD38E97-0369-4382-A8D9-1F078D3A9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6438E081-9A32-4194-AD8F-481395B60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6009E7FB-641D-40F9-96C9-0397F135C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F21E9569-6EA6-4FE2-B1AD-F8704808B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A3B38F27-5E07-4909-87FD-0DC84F20D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B23272AB-141B-4E05-807A-BBD355C7E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86853EFC-BEFC-4C4D-869B-308C815AE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830B7017-765E-4142-82C6-374089709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0E80CA5E-7B27-4441-BF3A-8F38C9CC7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F86DE407-E6B2-4CAF-BC4F-505649351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55E1F087-42AE-43D0-B6A0-21254E059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1A8D1366-20CD-424C-AD1C-28B72599F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3D6B7707-F5A7-4E58-BFD8-3F08AF4D3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371BD57F-768F-4B35-9488-6843039C9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1529EC61-E8EF-4BEA-9076-8848B55A8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1C3452E1-8FA7-4102-8A55-8D9C1C03F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C70A73F9-FABF-40BF-819D-DBF4A16E0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1BC813BD-2EF9-4AF1-A994-04616FD05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8D902429-0DA6-4D6E-9175-68A24F27E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B641BD7C-D279-473F-85C5-D80E86B7E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68A8E35E-7792-49B3-B643-EE7354237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46D33BD9-8457-43F3-BCBE-3B5BB8EF6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71790A63-13D3-44E5-A60D-DAD5DEE3C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A00EB1EB-F9F2-4370-ADE1-DE3E524C7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3068FD31-8495-4CDC-88F6-26BF799E7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6B0510D1-87DB-417B-9DEE-ABB66E8F7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F9CF5ABB-AAA1-4777-9141-39FDA43EF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81C8E7E2-74D9-491D-A02C-589C771B4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2B989CFA-B8E7-458D-8E50-30BBD8C06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DBC2695B-8DD2-4BCB-B07F-A5FDDE70A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B73F5AA8-2048-4DF0-81F4-FB9478C8D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377B70F7-695E-4A9C-A0BB-204E282C5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2E210D3B-D09A-44DA-B2A1-3F0CBD7C9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61EE004B-81A8-4202-B877-00E9B5DCD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97B5A9E4-B481-4ACC-B7C5-E071AD774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0D106F54-8D17-4DFB-BD82-51104D124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D4FD0B84-2F90-45A9-B5C3-3733FBB0C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973B9E6E-6E55-45A3-8A81-A7172ED63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E399E60B-A0F3-4BB7-9C7C-D834512D9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564E1178-F60F-40FE-A585-3BE0B8DE5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E2B40292-524D-4E43-83ED-43F9143C81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AA81A956-5AAF-4682-BEB9-C6BC608F23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FDB4E03-5E38-4185-B76C-A7A6291E2E6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E94AD2D8-500D-4D55-B62B-F3BAC7AF7B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837C9245-11BF-4CBE-B2F2-80E93ECEA9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3D342F2F-4DF1-48A9-AE63-AD9E8CC833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D5EDEBD7-E37C-4772-A978-53C8E25A19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6804FE3-33AF-4D47-8B9A-0344FD8E296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D1C9E188-EC39-49F3-B8B2-D00EC16171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03B00BFE-C829-42B9-AE5A-0DB3C5B5E1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6004E8C5-E9F5-4E4C-BDF2-12A2E7069A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DDB779AA-1E87-4EE6-8CFE-493BF1D2454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36DBF32A-A975-47A7-9D9D-9BBE978305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5B3ECE14-8D76-4940-BF52-A94712BC91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4395C69E-85F8-4658-9E00-4E297F0032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E797E5B4-BBE3-408B-840B-D4A3DDD37AA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4DEE898E-4EF1-4085-A29F-8C346C0E25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CC7F47F1-CD79-4EC6-8D99-69717F863E0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502D8330-B8FF-4566-A0F0-2B75CC8363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9EE02E-6514-4FC5-8DB8-9F2C5DD3D77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721C72D7-5CC0-43FB-9EEE-9BC7389DA53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E21ABC0D-ABB0-41C7-AE20-FF3ABEA8BCF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32B4EA1E-EA43-4D88-BF60-9D5D7D1495C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BFF4BE19-61A6-4B08-B646-EFECC46825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69D82582-01CC-473A-82FA-9AEED958DF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FFFA4084-B6AD-4097-A0C6-973D8D819C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C9E58AE0-4F13-4B57-96A3-A3B75DB84F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61C8B9D5-EB62-412E-A1FE-A4416D7DA8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A1452C7D-307C-4A9D-90B8-04691DE54D8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E752CA3A-342D-44FD-9108-BE6B189AE7E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24E774F-6652-4EBF-8DA2-CC0CF54CF0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668AEA98-52C6-4FC5-A487-AE42F302EB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0C84CE1B-A03C-4D16-A682-55006CE7282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B93AD796-7204-45F0-9E1F-B8C7ADE84A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8640FA18-883D-4095-8160-A2AAC3423A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B9E53398-D69F-4704-B82B-E6A87F8342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D63C2CC5-FF0C-4B27-B2A3-FDD781810F0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5B5EF6CD-7B0F-4D69-917C-4447C42526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18E90BE5-2FEF-4814-8992-5EDDD7BA45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B8F8315F-07B8-486F-9FD7-5D157BDAB2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6D470B31-C9B6-45DF-88AB-E4210212B78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5E6C626F-1B33-47EF-B683-01483BE2FB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4AE51FFA-3805-4CF7-AFE4-B9F15A2D40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825DCD0-F6E7-4CA7-926E-59C2C90D56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C49A0F9-922C-43E6-982F-B53B786E17E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C47651E7-494D-4F78-A48D-3B2F2A176B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A48724D1-5BEB-458D-A379-355FA34742F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3B10DC22-50DA-4911-AD12-0D8DDC72FC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63C8EAF9-B0F5-4705-8446-6176909783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99C94965-61DE-4D3B-BA56-4216DEE25D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55C23690-DA64-4FD8-BF88-610C1180BD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32A5CA77-9362-450F-96AE-68F87E14FD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A541B4EE-166F-4F9E-9B73-BA0B915757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70E3F244-6848-4187-ADEA-52C56E27A3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7651F59-605C-4419-9675-C6857A09E9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99B08A3D-CD3B-4419-800A-DF5529E24F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13484999-287E-46C7-8B8A-4B99734086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633E6743-3E8B-4349-87B1-E108A01A0A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44D758A9-7F94-4937-9288-D245858D326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284864AE-0B45-4E93-A5D4-B7387DD72F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D4CE8CDC-9985-48C3-833D-1B6476646F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95AA4A8B-617B-42AC-A89B-79748F4E8A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84853B61-813B-4686-8F5D-095416F4B6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63D0117F-DC19-4E04-9E39-B8C87D584E9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4D702056-9111-474F-A28A-E2FF76A376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D014631A-B105-49B5-B293-0883FE77B0F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794A02D5-159E-4DBD-8ED9-9877A597886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CE057102-60F4-4986-9E7F-E20E79A53F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FBE84729-BC35-4C22-8D55-204412C5D0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5849C43B-F12A-4F72-9220-566204BB100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642C0B8-084E-4D78-AE79-2079504F93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A768E776-D1F4-454A-A10C-FEFEB6C9BCE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205F288C-F0DF-4B56-AC73-BC45AA8E5D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DBB62349-5F33-4F86-BFF2-836131E64E9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D5E7B3E6-082D-4DC1-8914-0A79E450FC9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B1526C61-E65E-46E7-99B2-43C2BAAA0B0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8C04C288-335E-4FF4-BD9D-DCCD46CB715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E5BD668C-A4C2-49D5-ABDC-76F8DCE644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4152B714-038B-4485-9A39-69442F1434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7D624469-03C2-4CC3-BFDC-80FAB3660E1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1DA75F4F-41BB-4A21-B138-48C4C6A320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D39A206E-CEE0-4D99-82AC-4B4CC006CA3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C8E7ADE4-6B36-4C8B-A3B3-7141EA8A04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6AA10C2B-83CE-4B3A-9D99-D129222C309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C49754FC-C1EB-4110-BDB9-67392BD328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0A1B8B49-DFB6-4863-8526-5B109F24B0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C541D6D4-E0D1-49FB-959F-416F85662F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46878DF1-D9FC-487D-B8EB-98E371599A9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B9603E64-16FE-4B8D-8B1C-64CA7BF3D2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2A032098-D51B-4FD5-AEA6-9FD89A7CA2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ED4191E8-DA51-4C11-B057-413A42C6D9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298EEDC-07C9-4828-888B-AC84AFD300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E28A85B1-5993-4982-9489-CD946A4110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DA68E432-7931-4BE3-B399-BC6507F0C2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6ADBBC30-B495-47DA-8DC2-3F5D5CDEBD5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EE808B39-F6D4-4FD5-ADA7-9A18D81185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C37CBFB-7B6E-4937-97FB-C94283A75E0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4392DB60-8F11-4DBB-83AD-6358543AD13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58C0CEC9-4360-4EC9-9575-4341407265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2C65056D-1D24-48B6-A041-586CB7C4D1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B4C5AAC9-FB4C-4C17-AE07-7C60ED18F06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2BAEAB25-622E-4041-BA88-3A93C5A67CE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48223FD-6C77-4FFD-A16E-F61377BDE44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A9651F2F-038D-4556-89B7-32C81CBFB23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790FC07-81EC-49BB-9154-F520B5F5D2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01D6CDEE-3119-49B5-AF82-5BE4229653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B71F18E-60A2-40AA-9DC8-684BA1A95F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95A2373D-07ED-43D2-8A77-592555F002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F623E5A8-4CFA-47FA-83A8-19DDF808E64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32696B60-088D-4B4B-9D1B-1A04E5972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E6CFB13-4D5E-426E-AD98-AE14E57371E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D73CEBB8-7175-4B4E-84F7-975F2DF3A44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3AE43E4E-DA55-49B6-9AEF-3D3023602C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881CE1B8-050E-4C76-8394-D190EC358C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C6083EE7-94E2-41A3-A4CE-F55C721237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3B127757-FDC6-4CCE-8575-2EA855F6C70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CAF434D1-582D-4981-B528-7118E8E280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FA139A8E-D97C-4026-A585-E21B04A5A8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CDFDD459-30F1-495F-9441-5AA90C7FD0B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B5F1A535-6D93-49A9-A033-B5299024763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D33ECF1D-E0FD-443F-9618-C6C904D482A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DCC2495E-AA3F-4526-8D8F-52D4691E363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0F992F5D-A3CE-49FB-9AE2-D13F8BDCC94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BB2BA426-1937-4978-A3B1-F6218A4FD55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A3FC719C-6B9A-4BEE-BDBC-6980D475B4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E973BE5F-70D0-4787-87D4-623DD743AD2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A530CF5C-8F6B-436F-A968-61DD900A34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B4C0C4DA-720F-4E21-A5A2-E97DF54949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AA0C74ED-9CEC-46B9-B7C6-B0FA76D1D1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16830A79-57F0-4A32-951F-2362667602E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994EE5B1-043F-4F45-B4CD-C6FF2B66E18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C8E80E7A-F5DA-4A7A-9583-EBD6151AD41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CCD7F436-BB7E-4390-BD63-6BDCD6D58E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613A0EF6-77FA-4282-B9C7-5B511194ED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84DFA631-C2E9-4586-B287-5F9D7018023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417E3850-D097-4696-A224-B929599E719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238A301E-F559-4EF1-B70F-9B86576A60D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AC742827-4683-4107-8B22-9A25891ED0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CD33B098-CA85-4A4F-BCD0-42418929A46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2BFCBB81-6DE7-43AD-A7E0-8093629C79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AA0F245C-8410-415E-9A38-990AA99BE79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876A0ADC-D5E1-4269-8A65-D8A80D6C91C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55C9029B-6808-4521-AE1F-9E38C28A564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CE4D9C20-EF8D-48E0-A92B-50E0587F350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07E5DE36-9874-498D-93AC-B101474FA07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31031D45-0851-40C4-870B-1A3455C22F2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DFD204DC-74E3-4ACE-B786-2F6AEF1327B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1DDF3EC6-BDE5-4FEA-9709-DE0771C6F5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8E36D1BF-894E-4A75-88E0-3F87D2C2992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4CCFA644-BD30-4997-BF4B-AFD751ED13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EC87BBF0-1E0E-4427-883D-28FF3E035C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A193E615-67DC-41CA-8CCE-4D2D9CF132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C7D3285F-7329-4A94-9160-E15F0C3800F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3E597E02-24F4-422D-99AD-1376357D2AB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59452247-11FD-41B2-8ADC-968F993AB4F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40F9A98A-CA78-4E5D-9240-106BABE37A7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5E42244D-DCDC-4CFB-9691-C6437F4D12C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4FF9560B-CC17-4ACD-AF89-D2C5348F716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3924FC9B-8D9E-4EC3-AA1C-DC4FF70AD1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8A322731-7E19-489F-928C-ED4F81B7D8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EDBADF5A-48B0-426F-A417-74BEB768410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4F353E78-45B3-4233-9533-EB041800E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48ADE6C9-EA14-4C78-86C8-9A442AD193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E0604C10-1599-46AB-87AB-EC00974FF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D2599C73-7CA4-4813-9027-0F9F8281A4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9E9D2319-470A-492F-B81F-D9BA71D765E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D525AA71-F64F-41C0-BBF0-88C564960C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8A442DAA-C412-4338-852C-EAFFEC9AE4A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AEBDE27F-0938-4681-981D-308A7714FE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59077BDA-BB0C-412D-8555-27B71E1F295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DCFF2F37-3F60-472F-AEA7-77075BEA3B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335FBD41-82FD-4CDE-B928-0E59C7E1A6C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A23FF41C-C433-4161-9EF7-86ACA81891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FF89A555-7330-44E9-BF16-DEE6F5D1A5E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71F67CF1-2E31-49C3-8574-9BEE3B0784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32916C46-0C50-4405-8E66-BF39CF0E2B3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0ECCDC72-4B37-4DBA-9F1A-FE65C5BCFF9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B0A547DB-B769-4D59-BE99-E30B0970BEF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9E201448-6918-4592-AD44-C8116370D3C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87200831-4B58-4E51-9B6A-C0CAE5A24B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7D91C930-047B-45A5-84BA-9B262322507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060FEC8D-5E94-4053-9000-939FC6899DB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9CACC587-A1AA-443F-9555-45CAC68E927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6BA012FE-942B-456E-970E-4DCCF536BA8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1E841778-A2B0-4FFF-85BB-B25A3BAAFA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3E3D48D6-6661-4B53-82D6-246A84E4847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2136549A-FF37-420A-8E5F-84FABBFC6E1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518DA147-21DD-4522-918B-3C2896DD268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93615E93-3B74-4E75-AB38-AD785388A70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8B6A91A0-8207-4A3D-A9A6-A7417DBC73B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62C90AFB-BBC6-4E21-A4FD-AB0E71E44E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ECFE3DD4-1904-4324-BE0A-EE1DB287145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CA6FBF75-92B6-4706-BF6B-B4C8E82BF6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6D2DA114-7AFF-498E-9D59-770A7BE416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CDF0B7A0-52E5-4B36-AF0C-EEEF0719D5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B47C8424-B8EA-4B8C-8918-6A2D7E68BA8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D947059A-4347-4B14-8426-2CA697161B0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8B07D894-48B7-4936-980B-0367F94C2F3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C136AB35-088B-4BB7-8FA4-3DD382C5D84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A4D6D7EB-7A23-4B16-A372-0221432833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B0EE6A89-035F-442D-99C6-6C08560C89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ECD6A349-B8A4-465B-9344-022DE6901D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457C4DF-6CCF-4A2C-BC94-0D297A37856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3F2E6AA5-5A06-4D18-A1FB-9026D122E3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4AD1F15E-A97A-4DFC-B709-7B74FA880FD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9A734AFE-439B-4FC4-BAEF-93ABCDA613C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04A1EB1C-10E0-4AE5-A3FD-4B543045C2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C672F9EA-535E-47A3-BDFB-E6FADD4B77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49875FAB-5B3F-4C0F-99EB-C25572EAFF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4411DCDE-BF9A-4428-B84E-90FF935A4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58AE5D59-8ED3-4831-AA23-5E6E49C2589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B17E0F37-4BC3-4D94-9E22-2F43596FED9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4563D0BE-2984-48A7-8716-168A311995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AE0AEEB3-1F3B-4DE8-9632-F9603433306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2309F4F1-C89D-4CB4-9405-B84FC9E142E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C534CF84-CB4C-42ED-A3CD-4F6657951B2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84E6CA67-C875-4239-BFAA-F1ABDF5A864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62B58B5E-1F7F-4076-AF14-D5765C242E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3C5EA770-EB9A-43D9-A1C1-3F7DB74404D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3B93F1DA-2A92-4811-B72C-9D0D4B13CE7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3E121144-6F0C-4F78-9916-3F016307939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02CE7D48-B2BC-449B-8E0F-DB149D4DDD1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927C5762-44BD-40D7-92E3-A8BD4F1FAB5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2E076298-CEBC-47D5-9428-C52F14CFBEF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0C12C430-B971-4312-8463-1F694931A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06F36AED-C2C0-42EC-B0E6-D1A5F1A79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9D76DD1D-7AD6-4F4D-9225-B46F97B5C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EDBBDA60-7F6F-4F3B-A280-FED0771BA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B23A9BFB-E61E-4DEC-B751-DEF26B334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711E3A0A-2555-4910-8E30-6016F1339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CE3D44F-11D3-4D97-8375-155567124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E7FFDFBF-3E14-4BB0-BB20-F002E810F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E5E5ED61-811A-483A-A8DC-C974E48F9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EBFC4709-2A54-4F61-B7DA-D0A64F27D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408E97B9-9DCF-4DC4-B8D3-977E5782F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CF1555A0-DBBB-4F58-B412-71742B28C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5798AD29-01C1-4E0C-8DD1-AA96D276B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191FF923-9434-4F9C-8F18-C6EFE16C6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737CDC7E-38B8-4754-895E-552A74BCC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D3CCA04B-45EE-48A7-940B-9AA8A34C2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598F6865-DDDC-4CEA-8D3A-0F8736873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65E4A6E5-6284-484C-A0CE-88C01432F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879BF58C-EE1E-45A5-843D-B8F59A25B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86B2009D-12F9-4147-91D7-FF8740B9B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81C2556C-3313-4DBF-9361-BD01BC232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D8BC18ED-124E-4A45-8729-62AFBFCB4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4D751BB2-EDD6-44DE-BE0E-4731ADF4B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196A1594-A35D-47B5-BA2E-4B71D669F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0C61B278-E0D3-486F-927F-BD4AEC1A3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BD87C5FD-4DE6-4F48-8491-2CAB780AC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94EA9761-7327-497C-A2BD-428AB2C27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9B0AC7BD-A1E3-468D-AFD1-DA07A8E17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A3F2F217-C328-4B85-B524-42CE64099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6DA5856C-28E6-4DBA-B379-03B323359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CE5629B0-5A49-4B76-8583-137386A3C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9A6E9A3C-25CE-4EA5-8F1D-DF482E89A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00CA71CE-D42E-4A24-B6F6-DB7E14B47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59CF3D52-989B-4840-AA3F-F484E2FEF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26CFF70F-6E8B-421C-A346-D329F154B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E014E461-586C-4A4A-86C8-384142CA7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1B1EF875-33DF-425B-9FE3-82067C1BC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12196CB2-0150-422E-B734-3F91EE949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A64B105B-DE98-436E-8D62-02AE101BC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9BB8824C-CD37-4B1C-89C0-DE60285FB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6D9D663F-A82B-42E5-9B98-A6AAFB546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D5D419B4-E457-471A-BA37-8ECE7EB99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B3F48CC3-2F94-4F95-9E27-CE88E01F1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916CD967-435E-4560-9C17-201A7877E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06A56736-960E-4C2C-B4DE-9834F7FA9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64E461C2-6516-4132-A9C7-4108DAADB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CF115864-6EFA-4DC0-B857-975A25424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0369FA5A-9363-46B4-9020-D7E95BE91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BE3CFBDE-398A-49FA-A713-4AC6D35C4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06024723-110A-42A6-ACA1-A65EEF81A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282C24AA-0399-4A94-A6A3-2181C9C16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1644CAA5-B631-4461-9859-7299519EE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F549B1F0-6E64-416A-AA5A-29492DE04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DAD48905-A45C-4351-B215-2C8F98539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3A7B5929-4B46-4FF5-B0A2-DF4B11CC2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01042762-AC9E-4764-A4B4-45E2951DC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DD6AFB26-F0F6-4196-AC8A-3AF527B6C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EBF4F0DA-BC07-44A2-BCC6-0CBD3CBB3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4FE968A5-F93C-4D27-BE8F-65EE3EF61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29A4C860-6143-4F6C-84DD-E8BEB5A89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21A9095A-6605-475C-8CBF-103DD610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A03DA982-06EF-400E-B4E2-4E6EB077F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6369D784-76B2-4A15-8F0A-2A16F631B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5495A938-65B6-4D9B-9646-A00B371A0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44D203BD-4A85-4610-B680-9B8CBB1D4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C8B128C9-C918-4F58-AD28-533191799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75003477-F9F7-4485-A5D3-1F6C974D3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A3C00BC5-69B9-427E-99FE-C82476423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C0640B7A-33D0-44E3-B36C-3DEBFDBB5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9116F930-42DC-4584-964C-F94CD9422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48CB2CD1-43E2-4461-8650-5586761A1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B0CC9552-83E7-4586-A57E-7C72DEF8C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7214BD5A-E304-46BA-8D9B-49773D85A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F04CE421-97A8-4C4A-85BD-D80CBA327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61A8523B-7895-4D12-A2F4-A05A2FA01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A1813E14-F28B-4FFB-A649-9DA8E6389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12BFD5C1-9155-463C-86EC-5C170BBBC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35F091ED-3697-4FA8-B449-F9619C8B8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2F4EA906-D43B-4B78-B7DF-9D402983D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A78C6A86-119C-4E16-9325-C98B42245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5E16EF89-8FF9-43C2-BB97-19DC9EF0C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9F441141-1C66-4404-973C-7779BFB3C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8C514046-F326-4CF7-9D3F-33351EB90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F19CE142-B0B4-4455-8299-2E42EF3C7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2698B4A1-65DA-4A12-9533-E6C4F2372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73DCAF66-BBD5-4D29-B4DC-893B5F057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4256282E-A20D-4D16-B978-0DE40425D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CDBA6654-A279-44A1-A39E-9801F9E08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FCD8C586-65C0-4199-ACBE-E808F99A2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8E8C9F09-152F-4AB3-944E-B0927E3EA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BB1A84C9-B955-4525-BDEE-5C70E3D8A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448A1FB5-AC9B-44D3-96D9-CF523A05A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9BBA0FD5-90D6-49EC-AB9D-0E3D763F1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09C26C17-06D8-435A-A7C5-B08346B4E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E9147A62-9614-45F7-AEAC-69D1AD916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81903BD0-F18C-4FEF-8454-8E21BBFF4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3BB78F2D-E14D-4C29-8527-C0FD78DBF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51CAFD72-B97F-4357-B0ED-37E5D9386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58E378B1-2A32-47EC-8FC7-AAA75F071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4D61CD18-AFF8-4207-9035-C160FFFA9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BEADDC04-22E9-4B3B-B271-0BD317EE5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17DD8722-6DA6-4CFA-A1E4-C2721E58D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39C27D74-283D-4D63-BE1A-FF412B766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C88636C9-5B45-4077-B57F-F3B051541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1415D3BF-2DBC-412B-B9AA-2BC8F1629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8E5AF718-97C4-4F81-A3AD-F1BB1D816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B58D4163-E16D-4B91-8EFC-47992868C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89B73AD0-C713-46C3-9F60-56205504D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68D75BAA-51E7-458F-A96C-C00EFC572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C623FF36-23DE-47EE-BA1A-476714629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1ADCDFE7-1311-4153-A6A6-A9E2C8156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EA1A3DF1-1DB8-4FED-BA79-FC7662398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7F62A6F5-C637-46A4-8E4F-71F043BE6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946A8367-5E74-4FD5-A273-9882304AB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CB2FF32E-E886-424C-BF0A-23EE9E0DD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4BBEB92F-2E8D-48C2-BBC9-6DD782502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262B70FC-366B-4914-8AC2-283942A74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64810A85-7BCA-4387-8354-C5162D22A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4ED57D24-04C2-4336-8476-75A188EF6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C44723B5-AC59-4A3C-B380-9136AC161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D94104DE-58F5-418C-8D9F-6E9BB0C28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B93FEE79-552F-43E8-AB3E-FD158C99C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3A304AF0-34E4-4368-9096-C76226474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29A1DB37-31CE-4E18-8C07-267C7F203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488AB50C-6DC5-41AF-BE73-1A4FC2CC7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0A8DD624-255D-4F3B-8047-A19AC01A9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16AC9C8A-B684-46F8-A870-4341333E5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3F279619-BA3E-4874-A415-43784A27B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F2297B84-5988-44E2-BA49-835CB3297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1ECB023E-DD03-4B12-98F8-E9C05A560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B7EC1019-750C-481D-ACE8-F7D089DB7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5729C043-3C97-4C69-A683-246C4F226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A87AEE09-34ED-4488-A84A-32A8A98AF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B686B963-1AAF-42D4-AE47-70958E3EA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DE41C4BA-38BA-4189-9C07-2608F4CF2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C30D9962-CE22-4D9A-BC5D-1FA5FF0B8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F5045BFC-558D-4F40-87F2-AAAE7BB2E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325B66F9-0BBE-4877-9398-6FFE629F8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8DD39FD6-BD17-467D-BE5A-C1652BBA6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9374B09D-B90A-4A70-AA19-F0B7C90C6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DDEDA829-BC71-41A9-B7B7-7FD1B20EF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36E8FF3B-4802-4EA6-AC0B-DFFFB87A2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BB025DEB-D344-4F0F-94E0-1FF2B2CB9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997D7E25-6D09-4FCD-89B5-24E6F8A51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D3D4511D-0FFA-4EAF-972E-F139113ED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2D40EC02-8590-442D-8413-8BAC8AFC3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01BFA11A-0098-4839-BF43-4F07C04B3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55391018-7925-476C-A7AF-2AD96B94D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2CC2D250-4992-4265-96B1-4FEEBA4FD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6823AAF1-39B7-490C-9181-5BAE4115D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4479B32A-EAB1-4B52-9325-82C3A6280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FD7656E1-29CE-4386-8706-EA3FB1AE4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763CF5D9-C310-4D6F-ABB2-6BC031CB1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21A7D9F5-770A-4AE5-B203-E50CD5BCB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E4CD867D-D79A-4E2F-893F-64C158D02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41926DC6-923C-4247-9143-AED358523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3E4AC5B6-08C7-4251-AFA8-8D3370451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02987C74-77A2-4C28-B289-714450D5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5BCCECAC-9FDB-41D5-949D-C9E22B552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E8D69F42-9DAC-4195-94B3-62A42B146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593D3EF2-6AC9-4B45-A2D2-E37470C3D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5DD47F5A-AF61-4C56-84C8-A855F6AFA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7815F49B-DC1B-4B59-95EA-A3296ACF5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461451E6-7373-4AF1-B9A7-EC1B0C148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19B398BC-C711-44DD-8DA5-CB32C8077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AE6479CA-0027-4E4A-AF7B-9613657E1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79A47478-8C86-49E7-978D-37B99DFB5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70FB06F6-9C41-4A25-8D60-55C281F25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36DCE0FF-36C4-4DBB-B1BE-FDD01959A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271F35CD-13EC-4282-AFCE-A0B60C3D7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509DD9E1-ECD9-4464-9495-0442B2461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76CE0EE7-58F5-4934-9ACB-33658B0E2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D9A0E446-30FE-4F6D-A9B6-2C0035F41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733BCFA2-2FE0-4885-9FA1-EFF3C9747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A878EF9B-F788-4757-94BB-A58AB9956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1AF59A0F-872F-4125-8553-D714F5497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F819E1C2-6ACD-4F7E-A2A8-C17756214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B7B94320-569B-43B7-9FBE-860F595BC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7D16F24F-0C99-43F1-BE40-1679929E5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93CFC334-DFE7-4F8F-A276-25EE44FDF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3F9C8DED-F271-4D39-97EB-5E8AD2A72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F2A8D734-9F1F-4F85-B20F-C4A7E494C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51B0119E-8E26-4F54-8B6E-88BAB67B5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DFF00302-2558-466C-97E4-2DDDD1F56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25B3BA57-5912-4B90-B72D-C76AB38E3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485D4569-6E38-4408-AA3E-A8A3C9ECF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A43A219D-66A7-47EB-80C3-489545EAF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F6A9A00F-F536-43DA-9CA3-6EFA5578F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BDF217E8-3821-41D1-AFC4-0174101F6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98B7F7C4-2DCA-4595-BF32-77F9F6F4A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D2FC9E64-60E6-4213-BBE1-246A2EF6C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B3D81A0A-3C5B-44A4-92B2-C6B315359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D14F1EA4-6343-49C0-B2A0-AB893845F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FD84FE01-BE1C-4F93-A0F6-F3DB0751A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7D9FBA48-8F86-4844-AB8A-680F5C78B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F459E762-72EC-426C-A45D-CF2293FE3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3AB4E506-681F-4198-94EC-415259E6F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0D3004A3-84D2-45B8-BA27-BAD930918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CB333A97-B56E-48F5-AE2E-414889503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2539D317-3521-4F7F-B0E7-A9621F147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BF2E74FC-C2E1-446E-9B07-5ECB89E2D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162B7E4F-2DDA-4D7B-B554-05BEFDDD5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6EB8B72A-7317-4407-937D-A1B24C538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F3C2C28F-4FDD-4713-8416-41FD93DA6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6065364C-D793-47F6-9C6A-B76D3D126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064ACA74-F146-43A3-B790-09FD4E7A6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C7BBBF17-E27F-495B-BD9C-705AA9D72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9356AA66-B12D-4C9B-8D26-08215F794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BE64C098-8A4D-465E-BBB4-6FDF6D366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40A64862-2088-4685-BDE2-0F8733B6C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99B8B28E-C1B4-4709-B655-9466F9698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00EA8965-F5F9-4DB9-B0FF-6558E1488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841AA3E1-CD08-4551-8A43-7A0FAA52E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A303D111-1D3A-40FE-9A89-9B3816B30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0BC26540-BDD3-4A8A-8D31-B635FDDB9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369BC22D-459C-4BD1-876E-8D0590665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76C47951-64A1-43E8-9B99-A7F853040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E281DC8A-D840-4492-819E-D5E5CE184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962D6B65-15BD-40E8-AAAD-18465AE7A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5990B0BC-E601-437C-BCEC-7D21E1320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6BB12525-179E-4D99-9947-54B7D2314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26A3CC48-8F45-422A-8E45-854B26521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BF2ABF71-11FF-4F78-BB02-89DDD0B3F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3CF38493-99B8-4350-BBBE-D27A1A660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C646521A-F862-4619-B709-76A75002C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A5C14AB8-3FA4-4AC4-A898-F2B4D40D6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C2DD2502-9656-4A4D-B012-35346511D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0B6D1E6F-6650-43C2-A3AD-ED2AA77B2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113E918D-AFD7-46E5-8FDF-3D9B3DCC9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1C44DD24-CF0A-4B93-ABDA-D53FE7DE1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F1CEFA03-132E-4726-AB88-B767E56A2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20275CED-48C1-44E4-96EF-137737964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D43FAB05-CAD9-4C4A-A63A-E1E84830C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8963BEB0-861B-4BFD-B0C0-7571011CE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8ECB2CA6-7DF5-47D3-87BB-639CF4DCF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192CC6E3-1FA0-45A5-8768-C46EF56F4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8C8ECC1B-04AE-4342-B0EC-9D6B4086F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67E20620-F924-4687-941B-1D1C63BB7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0F91830A-D8E9-469B-8318-25E6CDE1B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5D3B4CE3-AD70-43C6-AE4A-F23A0A784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725F7E35-B8D1-43C5-AB59-A583045C7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3EA1B373-C976-44E1-B203-431B760EE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FB9D7614-3DD4-4993-AA93-1825ED18A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A8752B92-8A9E-415A-A15D-EE5DC8103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C8EBDCC6-331A-41C8-B799-F444823E0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B7E9FCF8-8999-4960-8CA8-CE9FD285B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CEF630F2-2D33-4376-BD10-E06C1CBDE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E17B2995-360D-4CAF-8115-EF3B66A4B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43C39091-EC8E-424E-B854-E26AA8F3B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966726AB-6CAF-4285-9608-57AAB05DE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5FE3B525-C113-4D96-842B-0D10EFEDF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F357755F-E86C-4595-AF67-D003CEE88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35407C0C-DA8A-4788-94BC-B1B231A9D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DBF0DC69-5BC8-4799-A006-F958864F1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87272D67-6C62-439E-A8C7-AFB74B5B2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060AFE49-A01A-4E7D-BCD5-23448FBE4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E2DC7AE6-5831-4190-914A-FC0CDC665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56A7F4D0-3F4E-43F8-945C-42C46B47C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B4409C31-E6E8-4D83-8A0E-38242FE23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B295D1B6-6248-4682-B264-2B16909E1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A5571B94-8D79-4759-9950-5785F6785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D998E400-BF96-4015-BBFF-AD0F1DDE7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10E90D51-7B55-4341-B93A-57E83CB58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C37D6B82-0044-4400-932F-32346D796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FF5FDB79-1822-4A58-B83E-31FBC09D0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7B7389B5-594D-4EC1-9799-1909F969B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3BF7351B-F58D-4141-8EB2-31EA9DE28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50066F12-117B-4E0E-AED5-0F9C31326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5517B37A-2B01-45CF-82C8-71BF14D25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1B0D12B7-A4CD-4732-82CB-B67879C65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6F345BDB-0346-4615-8FF0-2FDEE4089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B0E0856E-ED87-440A-BD2D-FC21BCD17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2E07C6A3-6B3C-4722-99CE-C596FEBE0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DD44748E-6CA8-4A41-8996-4F4B6D52A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0B9CAB0C-20BE-4974-97FC-0C79B9192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97CC9B94-9CFB-4116-AF0F-86AE61F25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2E7E694F-F7A1-45E1-82DC-C14E98D42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A4BAFEC2-5473-47A0-B8B6-B839C419A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27A7B1B7-2329-40FC-B78C-8F8C93D62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4012CC04-18BD-46E8-845B-9F920CCA6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ACE3833F-F3E2-4672-BAE0-A3EAED17E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0BC8FA9A-82F5-4856-9B5D-4950648EC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B009169F-ECDE-4CA3-A26E-64DB71421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67480E45-307C-4DB2-A52A-464CC8F11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7B57828E-7B5A-4959-9003-AEF6A9AF7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6CE6CFB2-7DC3-4181-AD30-D68B4C6D5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7B094E27-F847-4E54-B5A5-29CEFCDF6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6092B01B-8363-4BFA-AF58-610F3C8E7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22B72A94-17DA-407B-8AAE-056B721A7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2A855F74-01F4-478D-9371-9ACC8FD8D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57138C40-1040-4A94-95F2-1B024A2DF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9E73FABF-6843-493B-A2C5-729B53FC4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956A939C-F5BD-460C-BF4C-8DFC27B44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5E6430C8-DA71-485E-9A5F-056A5FBA0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B2FC084B-E8BB-4768-93D8-77C04D695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49896089-8998-4F09-A255-CF51B18E3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2EDE1B16-08FA-4391-88DB-CFB9DE3B4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BC44C7F5-5050-46F6-A7F9-FFF233009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08A88505-E6E5-4318-8525-88493F1AA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4ED50F08-DE66-40BC-8DE7-B80CBB9B1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824E1AA9-FD08-40AB-972B-65D2DA70B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789EC005-447E-44B2-A3F4-4FE2CC7C1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F29C12A9-36ED-44B1-9AD6-CE1C59E2A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3B92CB1F-B45F-43DB-94DD-5742B9C88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DAC3248E-03FB-4F23-9231-4AED56D85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2109EF19-BCF5-446F-92BC-9D7AE5347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B747CD4C-09CA-4DA7-8A42-13DC859EA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88CEE8EA-1B9B-4AC7-81E2-56B41C71A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036CCD24-1C17-4D93-B3FD-06F6D2DE1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DD97D179-B528-4827-81AE-4E4ADA43C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630953AB-2EE6-4FD9-9EA9-0A00C8EEC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A933D3F1-EDBE-4DC0-95D1-5A42C6CF6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683F08DC-6218-464A-A847-129F9AC5F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59503FCE-6F26-4FFF-BD6B-6DC0C17E5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5261E7E2-1235-4E01-8023-B92491258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9E9AE252-353E-4FFE-B5CA-B8DC2132E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14BFA3E8-29E4-4F68-8C14-4BD938309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36DA4E98-24A0-4662-BA48-AA8F75FC0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2854FB03-1E8E-47D3-A79B-391478DC5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95A95F0F-F218-4990-8B46-CD5C1CA49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088C7E2B-D8D3-49EC-A3B5-5131704A5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9D932ADC-63B1-44FF-88D2-2BAB6170A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02FC00D4-CD6B-42D9-8496-BBC237C73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8153D919-091A-44C4-A327-6CDED7244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C2A30D61-757E-48FD-A6C7-EF344178C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4C0A4218-6160-4009-9509-41BFE2734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3EBEC1E2-147F-4492-96A6-FA2D2E06B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3D7B6294-B007-4E4C-A4F7-9AC032BE5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96649B29-CD3A-423D-BA8C-89DE296AE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D79F7271-0561-4857-9A56-AE821EF92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099EC7AB-638E-4A5B-8BB3-8B0425CEF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A0A49B78-B3B2-4216-98CC-806C7B60D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108C0871-535E-46D2-9BBF-08727EFB4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7977F337-953C-4D76-8048-4954E16F6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3394CED5-9F5B-4AEB-84B4-DCA16DBFB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9D735B6F-B023-4531-AC12-15BD91713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61108926-AD99-471D-97B8-DF73E494A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DE0252F2-AF81-4EF5-901D-8864B9D1D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B4E321B9-733B-46B9-8792-1CF991279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D0959F01-A4BC-4055-A23E-18DF805CC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B6B45930-AC4E-475A-AFCC-FFFB17E78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40740E3A-29E0-44E1-9778-AE0EDA801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38104A8B-5D25-41ED-9C66-9251FB444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DDDF524F-8CE3-4F41-A283-618C616EC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F6EB95FD-F599-4F09-A7BD-C99113F2E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96820AE4-5915-4D13-8449-64E381A5E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ADF3ACFE-E2C7-444D-AD7F-612BACA63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2910AC71-7EEA-4601-AEC2-A21635F10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40C07780-4619-4724-AEA6-D6943ECCB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2F6F299E-C20E-4989-8EE1-256744B86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3CB6C712-AFEB-40C8-8957-DE2CF1937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8B2F3DC7-BAC8-4400-8425-DE67AD160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7CB7D03B-882E-416B-9E0D-E04A9F474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BC2E12CF-DB6A-4F8A-B019-E2EA3AD38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30D0FED9-095E-43BD-A5DC-59F557935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FEE2A67E-F7D8-4A8C-9DAB-F63A93187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E1C3DA45-09D8-4009-B75D-9DBACBE05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6BA4445B-1541-4241-B897-D3A2EB8E6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33CBFB46-50C9-438A-A26E-A8141E0F2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14750F9F-1479-49AC-8176-1D0F5A107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2A4FE287-4060-40D3-B3AE-C744683D0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91DA617D-D392-426A-BDE1-280AB706E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07F3ECE1-C077-44FA-BE40-53635DC07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3C6AF292-6C3C-47E3-9519-F76497828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785F57DE-CC57-43CD-BB13-24E5B15AA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3DDD013D-0DED-486F-9113-3373317FB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3FCE2178-3E60-40F3-88F1-5FD83BC59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DAB03111-E2A7-4404-AD18-641F0FF63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E6CDE4D2-70CB-45B1-B526-BFBC49B49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7E411CAA-C46D-45E3-A13C-558EFC04D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83B18A82-B0EB-4ADE-B953-A6C0879B6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7CF32425-490C-408F-9A29-2E41E15F0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B45F7E35-A2B4-4C61-8CED-41A25407B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6CDFA990-965A-4907-B62B-69126FFC3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7C03CE3C-60F9-43BB-B196-04271C231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61BD2020-5CD3-4221-8109-F9F9733E8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C51CDF25-47F9-4EF2-BCA9-110B31903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09FF753B-83F4-4126-A3F1-736268B13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6948AF4A-8F23-4602-BA55-D1F77A859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02EA95BA-7951-47DE-B9AF-3B1B5FC59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C60AAF64-BFFF-4EA2-A6D6-26FC23C9B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C392452D-AB21-431C-9BF9-F46F46153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41310394-7D9C-4E7D-8758-7389E6653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BB5F50E7-8B31-4C0E-858C-EB4E8E76B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3366F2F8-F971-4609-8E49-6D7011AEB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C7DBB589-EB2D-4F63-AEF9-9A8E1F96F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6F685BB7-DADB-47D8-99BF-A0099FEE1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D7D85683-241B-4BAE-9495-242E754F9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D755A248-6F41-4345-925A-EC416B35A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99501B62-CE41-4A59-B72B-2D4CFEC14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45CC5B3C-34DA-4160-B368-68426342C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4410CF5F-BBF5-45B5-A1D5-15BB68786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4C2A1C06-E8C8-429F-936D-9B2FBFC65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47DA0FC8-27C2-4564-8E2E-1BB630C02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4299ABA3-EAC4-4D88-B8C0-414B4F16D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07683F25-9A7C-4436-A3C1-5EAC00642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37160998-D58D-47CE-B4ED-015BF21B2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12880C13-A11A-4630-8392-84015DC89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46D4EC95-4AED-4F46-B026-BC6239AA2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A5CE3500-0BBB-47D5-A776-757C7304A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7DC720F8-A445-49D7-86B6-4306BF704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9833A498-C852-4B18-B95C-0ED937D74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B5452E55-6A39-499E-A333-DEA665281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73C7D582-36A9-4F22-B15A-D1F3FFFE3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5BF00658-D253-4ED6-9074-7DAD878A6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32B91B2E-00FF-418C-9FF6-1B1D28C5B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4390895C-6811-40F0-ACCE-3D9847CAE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BB4C5AE7-D069-4FA3-BC0B-6C256B090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AD90CD67-771E-428D-AA4F-3B7F9AB5E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DE407BDD-F619-4996-85A1-E5FEED85F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AB4C9D66-03D1-4F58-99B6-E792BB7F6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677A48D8-425F-473B-A4E3-1F1085002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23FA0157-6F74-4D13-A589-7E23A4B6B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38BF0A21-B0D9-408C-AC39-3A53C96CF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BB631DB0-E098-41F3-90EA-64D64A54A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71F4D3F9-1277-4ACC-92A9-35BE9126A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0702E85C-D289-4810-B170-CED74B92A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96C7BB52-0C9E-41FB-B61B-5AF93A215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6DF98C40-7D91-457E-BDF0-2332B4797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B61CC78B-3D8B-47FE-867A-A4E52BD9D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2FACA45D-EE4C-4D40-9680-E5816A2A3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2D11D536-2386-4B62-BDA2-6D17BBF6E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A52B7F73-66A1-485C-B2C0-C2E60A680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2F5A3C76-1AA4-4D83-A00D-027F8AFB8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42C1FD83-387D-494A-98A5-8C9DC1828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DCF14972-4E08-4321-ADC3-286E479C8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14999864-81CB-4686-BF73-BDC30C951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5EC1FC96-093A-4FC5-93C8-DE01B81B5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F15A45DD-EC56-49C7-BE4C-3065F4755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2EE1BC14-6C7D-4E4F-8ADA-72188E8B6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A8FE713F-B5AC-408A-91F2-66C45CF72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EFA1CAC5-4883-46CD-AE1C-C1F76D7EC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8BDD9565-F95A-459D-94C9-4055B54AB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3D0F30E0-FF8A-4A21-83BB-3B818258B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A4437AA4-A1E0-469F-8937-390354496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A3299DE8-F6E1-47BA-9D11-91D15FB56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E60F50BC-5D77-44BA-AE98-2D6C358E4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078C1690-B11A-4B57-8D2F-C2ACA55D0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04B76740-6E2E-4328-856F-5200429A1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5823B63F-3EC5-4045-B8D5-09BD9AF2E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0285FD98-3633-4DDF-BC79-D2BCD7800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D5A60D0C-F1FD-4A51-971A-501CD95D8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94BEA426-5A2F-4B5E-8F84-443118C34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7307D22A-A001-4377-8FA5-8507B6BD2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39A25A99-77D9-4822-B832-DE00EF9CB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498EBF1F-F296-4E6F-A2E2-E643D4F01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CCA1D4B6-5406-4ACC-8C12-C51E6503A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FFAA04E0-CFDB-4513-98F5-5127629E1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1229EFAE-CE39-41C5-AD95-86E806835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A72C600D-8B41-4F49-B77D-731505EA1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1B88618D-4964-48DE-BBB3-16C77F06E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E118D9F6-9602-42AC-B755-1D5DCCABC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671A27A3-5A2F-43FD-89DF-3833FD577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841C800D-73EC-450C-A95D-168282A64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C3EE1B6A-0577-450B-9784-ACE0888CE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AE9E96B1-9C45-4C2C-B9A0-871DDA0AD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6D3BC268-99AB-41BE-B7AC-B110618AF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0815E522-709A-4FC7-B8E5-ACE930C92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4436D534-5A39-4E01-807A-9FA4BA54E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4D1E4F0F-293D-4254-B33D-9F13C57EF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460F605B-E56F-4218-97AE-4A089A6D7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85704A77-ACAF-4394-B938-A5BB4F665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1DCE83F5-B678-437A-B472-FC875EB85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69430CFB-1E69-4617-8E4D-E3E88E922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671A1010-3054-4B19-869C-FBF573D5D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B1D05129-8956-4485-BDE6-10D5D86E0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9BFF6D10-4004-43E7-88EF-FBA5DF6CB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4356FDEA-77D0-4C1B-B161-3057CFEE2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7F4FF3AA-FA16-4A27-AF54-5012B646E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C9EB592A-9AA2-439D-893C-6B8199934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33C3E3CD-A4D7-4448-9D04-F5651C373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EA7392B6-A5B6-4F8C-8B67-4652CF46D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EE4B8406-3F5B-4936-8E88-56D211043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43697158-4AC8-4AD9-BFA5-5E5932FDC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C367C92E-D85D-48C2-A7E7-93ADDBD5D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425F0C07-CE95-4080-BD3D-2C108AF2A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6B13D1C1-EA2B-43E9-8763-489033B84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A98942B8-D11C-4671-AD67-C3497B71A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67E3FAF0-9B92-48E2-BD99-31A13E456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A1643DFB-3FA9-412C-8880-1EE1B0C93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ACD7ABA1-D203-40CC-A0E5-5C6C69699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4E7A7F68-00FA-4C22-908F-018C735FD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CFA5463D-C422-49EC-8E82-2653ECAE9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A9621388-4BED-4C18-B029-7D9BD530A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E4262A27-BBEC-4DE7-8291-F9A6845D4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65B0E354-1422-491F-B295-0F6072D64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EF70A3EE-9D98-49AB-B74B-4DF35FF21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4E2A6D17-683D-4AD2-AC8A-0C7747BEA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5C1D8815-398D-4AC3-9D90-E49BF1373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FD2A4BFA-D2E1-4C7B-86E8-525346158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0383FC78-E123-4CCA-8AC9-7A206E4C4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EE6EEF38-7FE7-4E9E-9274-669FAA3B2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287231C9-E654-4753-96F0-5D6B6608D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1A2610C3-470E-4253-9FBA-5D150FA6D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77AEE325-68DD-4B80-8DAB-B9DFB45FA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F86DC985-5415-449C-921D-182F234C1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6EC8101F-00DB-4042-A0CE-FA9B80CB8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4307F74D-36E2-4481-978E-5726A0103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55D7677A-5B6C-4165-B6EC-68DAC0469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B0B50CDD-FD73-4058-8BA0-E39FD39F9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466BEA96-7C84-40B1-98DF-FEDA5DA2E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D47B0BAD-33CB-4E3C-8B74-E89A3599B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7449D979-C17F-4793-A913-F8B6AE400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26615F5E-21E3-43EE-A6FB-0E3174B41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0ED5F21A-18A1-414E-B146-28FE3E967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BC96F02E-EFD5-41D4-B123-D84DCE9BA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CBA601F6-FF8E-441F-A4D8-10C67DE4B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E810BFEB-E813-4C2F-8347-6DFC7DA7B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C0033EEC-17EC-4818-AA98-29A16C4AB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9A10D05C-915B-4C5D-AFE4-165473BB7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3B7227AD-0B33-475B-8C00-B19EE1DE4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C44C2E87-5809-4B79-A09A-811601D01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676539BF-EB77-4126-BE68-7E4230A7C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DBF16D9A-1217-4F99-BD59-D9F2382E7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4711DD9B-E8A0-4037-905E-67F3760FA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1049416F-FCF9-456A-BFEA-B8F58168B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E64486A7-9B10-4414-ADA7-E9AFD1238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3B91291E-2597-49C0-AD47-49852A1F8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43D30E74-00C8-4864-9B73-DAC2F33D6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FEA9B812-9A0B-474F-8079-F36051A9E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FE7B2C11-2B87-4F64-814F-BEB51058A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B6D9E820-E272-408F-811B-7BF59FF3E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D441303B-7C7D-48D5-92A3-13656274E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F0D364EB-5E46-4079-BEAB-986CF0C94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2A809E48-8A55-4568-9E2F-37362CFCE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8731BBC6-17CF-4C98-8665-4994ADD46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332F4592-3F7A-46EC-83E0-BC6494524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3C0B4A62-74F1-4E71-8A3F-7D390EC17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96B996D8-1107-422E-8D84-43DDC6C61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5CC326BC-957F-44AC-9A4C-FBF92D620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E15F2C22-EB95-443C-9E62-C6C5CF0BC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6F51A90E-1DBA-4A25-8BFD-6E9E14D57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28FA224C-1AA1-4E98-A4FE-0D8DCC5A6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ACFE8232-85D5-48C8-92E8-4F61B3255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B5F2BCF1-43A5-4784-B65A-7270861B7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D6DAE9D6-C60F-4A5D-B1DF-DA227674A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E1109F45-197D-4C38-8429-D47BBEA76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9D984018-17F7-40AB-9D9A-D9FE5D788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3C6576B8-B948-4C86-AA4E-29DBB35EB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2B76C490-A853-454A-9E63-7ED64C669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83DA1798-5AC8-4473-9CEB-C435CC17C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8123C6A8-175F-4E92-A424-CE3341139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877253EA-7759-491D-8DE5-D17205974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C0814F48-D2A1-489B-8383-72EA6ECBF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BDB64B42-9631-4A72-820B-B70B508C2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55D3FC6D-4170-4155-BADF-2258F147A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0F6CF31E-59E7-469C-9387-EFC644F8B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9707CB2B-80E4-4384-BAA3-F61E6D864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3111A332-0E3D-419A-8533-24A6D5B51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633A41A0-1F8E-4D38-95CB-AB9BAA963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06C21BB0-53FE-4675-9CF8-CD6B925DF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8B4C61DD-FBF9-48D2-A5A4-5268BBA7E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1FE9EE6B-301D-4C2D-A4F2-6FEED0974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BA6DEE58-BF57-4600-A149-26DF0CDA9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C8B21B55-8888-4617-A744-FB8BEF1B2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B8093E95-18C3-40AC-8625-35D6FEA6B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D76C2C81-3360-4862-94AF-CC615867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9411E1DF-A57B-483A-8A59-1FC7B672C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334781ED-C215-4AC7-897F-6364A0902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B2B469FC-033D-42BC-9E75-781903F21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7FBDE4DE-905B-4472-8AE8-8BE9C0742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CA555FDC-5967-4E6B-85E0-0B0D4B290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AB5D9D5C-B52E-4607-A06D-A4376551B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EFD55A2B-1A0A-46B2-BE0E-7A4EED141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DF903E71-50F1-4437-93B8-C25726A71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714A7FF6-B88D-4097-AF92-744041D44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8FDF0B8B-4F4D-4E78-8453-DC145C6B5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7EC18766-240C-4D3D-AC2E-2A5C6142F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AEE3300A-0128-4092-9431-B72C41B19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336F3A90-14C7-4078-9FE1-AEB65282B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82C0288A-280B-4A91-A69A-229578158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47707B87-FEBC-4466-919C-8A6878A21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D065BC8B-CA9B-4BBE-9339-90FF3FFE3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382C0A68-FB51-40B7-BFBD-D063B0A3D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A8ADBA5B-6D60-4327-86A5-024B7F6B8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289BD545-EBE8-4DFE-B37C-45D7859B4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99875DBA-6F05-4F56-BCEE-EE150EB26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A8A83284-004B-4520-AB07-6879414A3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EEE32912-6AE2-4304-89D0-543BFD0B2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2FA1CB19-3BA9-4501-916E-3F50C323C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B6F4A937-72C6-4C4D-945D-271D9D873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6893BF0F-F3E4-4EA9-8E8F-2F28B9E45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BB4EF8A3-3E20-417C-AC56-E07021ECC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2135162A-A7AC-44AC-A297-CCBB90D94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A0156A06-ED5A-43BD-AB7F-D80EC26B3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F77D26D0-7BD4-45DC-95C0-3C6560DAA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1661C51-FD53-4A5F-8CB0-C109F9A16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B1E028EF-4EB2-44C8-8F86-9C149CAFA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ED91C45D-2C23-4041-97C0-38E32827A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20951C8E-DE6D-4EE3-8499-4F1E38D71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37B7F8CC-DE04-4896-888A-34A7E1FE4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57AD1583-E9F6-4F97-8976-9168CF998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C175AAA4-5F16-43DF-A7D2-E671D57D5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2EA2EEC6-F125-491A-8D03-36DC84589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012430B3-B8EF-4012-B43E-6D0FA3949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5DF64409-B508-4761-80B9-B9C16D0E4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9BBD8300-118F-4989-AF13-A9C03F444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5E5CF928-788E-40EE-B2F8-668160625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F21DF0CD-5461-4E94-B52F-433EBE48A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0A1DA693-45E9-4D2E-9E84-75B03BE71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2006634E-825C-4F2F-A7E8-ED37AC71D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7E677FE0-FBEB-4356-8E2B-0EF980D83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059DF4E4-F3EF-4DDE-9901-8F05FD046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168B1F26-E684-4041-8213-408FF6E50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659D8DB4-5171-41C5-ACDB-12C0192B3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C795A916-B0D3-45FE-94B9-65A05CCC1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9C6BFD57-5505-4432-BA71-DB4BFBADD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FD601C88-88D6-4244-9403-837FFCC70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10365494-1E00-4E45-8453-9563C2B7E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9CD5D47D-C147-4BAA-895A-1EFEABA40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F36E1373-C796-4831-9D37-284B884E6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3DFBA722-02D1-4F3E-B841-09F99D79D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DDCA9D6D-E402-4947-A860-5E4E4CD76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AC75EE8A-0A53-4FF9-AD56-202B5CDB9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9C7E1A63-613C-481B-A139-3885A93CA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99460BD6-932D-4378-8BCE-0A1BF12FB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ED1B03C0-13B2-4DC2-9379-4ABF770CB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236C24B3-193E-4754-8219-24082BB08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7AEDC4EB-67DD-4EBC-8608-FA9E249D5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A534C05F-7AD5-4E10-961A-425310A9E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ED4673FA-BC23-4945-929A-1B23A75D0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1DB66327-EF46-49E1-906C-8FD82AD1F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603E940B-F745-4835-9F7C-6B98B6B5E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237CE35B-D8FA-4FF1-9D23-4CD822483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BA06E0EA-CCB0-46F1-BD5B-B44BDC426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AF89C298-8AB6-4F28-8143-4B2EF5857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D3D1FE05-D88B-4E08-AED5-D21179D00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F26574D1-F863-44E6-941A-4A219971A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D4A1A868-1856-476E-8837-CEC25ED61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3CDD64A3-276B-427B-BC9E-AA70AF64F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614EA005-64EB-4BB9-88A4-3D8D7093D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F01F46DB-90E5-482B-8AFE-62DE56C2F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EA533D15-4976-467D-A36C-05C84437A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177879BE-87E1-4F00-8583-BDA592B8B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C1B11D52-641C-419D-9352-5023615B4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077A33AB-69D5-4E6B-BB9E-810E81D96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2975D0B1-62DE-4B35-9BC2-F4C4194DD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94AEB485-E4AF-4B87-8DAC-411684300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B3F00734-5060-484D-A715-260987956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5A1E1E6A-D96F-4956-B93A-6B626EDF7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7EB720F6-4EC1-4796-BBBB-F72F9181B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34707F72-8BE6-4314-8C41-83C127E7D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75A72D17-AE15-4FE3-BD85-321C89EA3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BF6A3516-F22C-457A-B499-C93531E25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EE292C0B-5517-4CE3-B7A1-6192364B2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933C8B2B-E5C2-42CD-B32A-528C76139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7D68A7A8-5774-40D1-AB1D-61A063A81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16D51CB3-FAF3-4F8E-8290-594D1F67D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F7D63198-431A-4834-8CD6-FF103C24B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959AF76D-4466-4796-807C-F8B9AF211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084263A3-06DD-4DDC-8875-4DF95C063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17390A3C-F421-403D-AFDA-D0C811812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30B1B8A5-EA7B-4B8F-AE59-536A98E04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7DB0C807-DBF1-4B5B-ADD7-85872F6D8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3D6E248A-F9CC-4709-B16F-A5FACB412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FC860493-DDE2-4E8C-90C0-B622A99CD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AF1505C4-5083-46CC-BC91-E2137ACF4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0C0DEA37-7E56-4666-B8C1-964729233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BD5D7A38-49A1-4A12-A289-770CE8CC9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9E888B77-ED96-41AE-A6B3-2D533D4DB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C31E0678-6F2B-4B77-AC3A-B1F0CE076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7FA6EB6F-DF86-4E7D-8710-B2672DA9C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0204EA0A-C9F1-467B-A361-702B06358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C02258E6-6E3F-495A-9CF6-C1FEE3375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3AD217F9-20DC-49B3-8F88-08BB067EF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81E57170-FFF5-476A-A125-F2A9D0DE7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517A2A00-0847-42D4-8221-F24768220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4DA17D9E-3CE6-4DAF-B810-465C84BD4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1173EE42-9CF8-437F-95B8-2D49A5C01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FB1A8A5F-F301-43A6-B6D8-EDE6E569E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9BC5886D-A82E-4ACC-9999-03236F3BC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595AEDF7-D87D-4F6E-B4B9-DBF9711B9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E6D35885-AD15-4107-9DB6-C163068CB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6BE524B7-34C2-442B-8567-46063D771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0A07292D-A001-4D0B-9708-2FDFE10A6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6364B89C-2CFD-4CD9-B029-464155726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C9A37CBE-40DE-4ED3-BF68-BABFD9858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BEBBEE3E-1B6E-4717-8A89-AC0ED3DB6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1B92DFC9-EF17-4257-9761-5F5201474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88F94A41-9826-44B1-9BBD-C306165D4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D3D295A5-94E1-456D-AF47-E3A03D17B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4C7C6106-C902-4D49-B367-3A677C22C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FD9DAB73-62D7-403C-9565-7E45C47C3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D31294A8-4D84-49BF-9E53-7FF16DF67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B975ECE9-C6CB-4371-8146-E45BC0DBC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90CD62F7-4C81-483F-8E37-CC8C3CB40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43323484-2D5F-450C-AF57-58A8D114E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18A5A759-FA38-4032-959D-9AEF209A4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EE48A34E-FA9D-4B06-9A88-E96E14A1B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C5D9C219-70CB-46FF-B759-AAE4284CF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BC2ED549-1C41-49A1-B486-2F6050795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6421F641-E33E-47A0-B23A-46675AF13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BE5922BC-042A-4C18-BDE0-3F25E7A12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96116431-B124-4E7D-9CB3-5257F634C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871D3D32-E06B-4AAB-846E-01CFC40A3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73FB116F-BA42-4D9A-A7B2-1647B3D16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150F07A1-C844-4726-93D1-556D1AD47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5633F1EB-5E2A-4F22-8E1D-3FD8512DC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7894A778-8FBA-4D95-9AD6-234D22DA1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7BE5A72D-9E05-4C82-B954-8EC3FD9C5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B3BE913A-BC1C-45BB-82FD-47E10944B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A2FC0A77-B52B-4C30-91EA-74BE1DCD0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FF7284E8-68FE-48EB-9853-DC867290B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B1D0C2A8-40C0-4E53-965E-5054B0892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F19879BD-5AD3-4D5C-B6D8-132A87DBA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A2DDF3E8-0066-4203-B230-3E8F54E68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9B3751B5-A280-4C9C-941F-115840F45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39FE4511-C8C6-43E2-ACB3-946993166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4DFED088-1CA8-4E4B-8C15-0DD65A0C7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F3EFBB6D-0D6B-4308-B467-C3563CEB6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C7040992-0B69-4A82-BC27-72A5018AC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ACEAB2E6-C03A-4328-B203-B1D8979B4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3A9947C2-9958-4E56-9CE3-EC6908CEC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4896845E-B6DB-4511-9CAC-CE9CA410D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03351D3D-BAC7-4700-AF99-D3B86FA2B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E95506D5-8EB9-4F15-BC66-078C0E31F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A4BBCD2C-2FF4-48F9-901D-98440F51F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A3A7314E-AEFE-4454-A17B-EF0E9B008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7C5FE4FC-068A-4ECE-AF26-C1514B5EB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180AEE4E-3236-4AB7-8E2E-BA6B0626D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56790B5C-7485-4BF3-A342-EF3F20D87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A1CF81EE-C42C-4A4D-838C-22D827A53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5FC5E58D-EBAD-488D-968B-ACF024B47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9706FCA9-57B9-40E4-8015-89FB3DBBB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37F9678C-2DD5-4857-ACD4-FD0525369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B716C2AB-0166-42CC-BDE0-409ECFE35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588C8A17-565C-4DE7-9632-D33A8FACB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E3A299DF-77F5-4B4E-BD03-CDBC0A26E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5831BA40-B12C-48BA-8866-20172CD01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CDCC8106-097A-490C-8CC3-A263ECC05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8B1D8832-BCC3-4A1E-9EF7-0F2D39F73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E7C3A5F6-385F-41B9-9DF0-D4DA91729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7F946BE5-CEBA-45F3-A3BF-11A2B0D29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0CEA9B4D-1956-4642-BF7D-028CED366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A8D28356-A091-40A0-85BF-688404D91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10B92E0A-9FAE-43B1-81E5-00230DFAD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142FE86E-ABDB-450F-BD1E-80C4337D4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5B17B859-2C87-4229-9D1D-C8FEA1D35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AA7932BE-9B7A-47CF-BB2E-5B55FE59E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BCD5A3EC-34BC-4D96-81ED-CFE1A2955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0800A298-4FF8-4E23-BDBA-BC16A3E1D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7A328B1A-E851-450B-BC1C-4D22044AE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F81D4131-7C85-4F4B-85F3-950CAC481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4E9F1D48-A9BB-4C45-819D-4D5E9B49A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CF99FF60-359F-46B9-8C5C-D78B902A5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C6EA339C-B669-4E58-9DFA-308166944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4D05D24A-321C-46AC-8E7B-B839A9F86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063BF985-179B-4EFE-8898-E664C2526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52067291-CB05-4A44-A345-DF7519B73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B7949718-20A7-4EEE-A6DB-A1966149B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CCE80A7D-DFF2-4819-A05A-A947DFEE1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F43E9C4B-6E1E-47F2-A47A-DA10F271B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53D0064E-A6D9-46E3-8646-0A1952C3B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1FBC807A-D72A-4382-A904-C69FB8516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2989DD98-3E2B-40B5-B26A-A9D4501A0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979BC59C-E0C0-4C3A-9C99-15B65C60E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D1DD75BC-D2DE-4570-A652-D95035781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FF70C29C-8A05-45ED-9D61-D0AA31F97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43B3A540-7267-4466-9E98-A21F9390A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F6EF680F-BA1F-4CDD-808D-66D931C5E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FC314317-FE75-4081-ACCC-95621E5C0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67E47202-6D38-4DDC-B75E-00BFF65BA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9AE0D42C-21B3-4061-810E-803628322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77D0032C-7BAC-4E31-A52B-DF89D1AFD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85DC553C-6473-4068-A541-E24EBAEB8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B94AAB90-C4C6-462D-A249-74ADC90E4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C6E1425F-96F6-4BF6-9DC0-DCD96966F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1D7B35F1-6FCE-43F2-9442-FB5AE6939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3B06B3CE-B820-4E59-87F3-E09DC0399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FF7D8C44-A3A5-440B-902D-9A83DA927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BBC9B033-44D6-4EF1-86BD-7633030B3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C84811C1-1708-4438-AE2A-C39C6B956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6ADC0F23-AEE7-4833-90E3-3D9C2F3CC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44AFC870-FDE1-4C6E-A633-294A2AA2F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90B32954-7BE2-495A-B202-1401BF7EB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6E628B7A-3FA1-4D3D-93C1-D5F002829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68D7588D-2DE5-4361-96A3-78D24B147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4CE332E1-B8B2-4BCD-B373-53E973C60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8D0AEFDB-1F54-4AD9-913A-1A4299F57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A80467D1-498A-460D-876A-5282D083D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ACEDAD9F-573C-4E41-A941-7FFF3F73B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AE64A300-7915-4274-90EE-59EACBCC1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4EDC8ACE-95D7-4B5F-8B0F-BDC4F850B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48FC3FF9-61CB-4A02-ACC6-F76CDC4B2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12A4072B-460D-4311-B928-D468D9791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420B3FB8-27BF-41A7-B40C-AA28209B5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1769228D-C6DD-4EDA-BCD6-266F4C496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D80AF550-C652-4B92-9D2B-8C9793ABF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19CA9A3B-E3AC-482C-A14F-2062545D5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DC299162-EA2C-479F-86A7-C91A5D75E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3B59A2A5-6FC6-4EE3-9EBD-28B8CD7A5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306A601D-25D1-4EDB-AE8F-D2C9C2455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31D38454-2179-4DAC-8727-86875114C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C6D4F104-8336-41CB-9783-26F8723B0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8ED65A38-98B8-4815-B20B-8608EAE9B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67CD3209-E6E8-464B-9540-FA88909FF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DB4CB034-1E3A-4E59-A105-5A5A340D6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9726B0C2-5C59-4649-BAA9-3CFBDACC4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CF2935CC-B0F8-4F22-9E98-36A2BFC4A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5C494FC5-09BB-422F-9413-EA52CB09F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979D1F57-6CF1-45AA-976E-7EAF8E1AE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6562CF44-49B4-449D-8A21-CA9BD09E4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250BAD96-FB73-4DCE-89D8-F18F22D5F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D40378BD-7188-40E7-BBDF-71C050E39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04C5FC5A-7E90-48DD-B474-0CB808E0C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655D8FB2-2E78-468B-9648-1C933EA32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EFE0ECF9-A2FA-463B-BE71-4FBFF4EF6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BEB05043-C6D0-4B90-A21C-B2C145A95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25F9ED5B-661F-4F3D-AAA6-787D30954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91DA376C-EC26-43ED-AF2C-7515E314D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592904B4-6AF7-4191-ACA3-9A181476D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2D01B9AA-CC89-4ABB-9884-E840254CD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1E0B4008-167A-4654-85EC-F699BDA1E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6C064AE8-37DB-4B14-BA27-FCBC1B4A6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A0A0C6D5-962D-4D54-B421-FA100FB80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865939B0-7801-4A86-B635-359E60E87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97196931-368D-4692-B475-F8E1E83B0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3A9FDD3B-94B9-4732-A964-436CB0DE7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5E2649B1-8D83-4AB0-850C-C43BF3672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FE9A53FE-E2FA-4FF9-89AF-BDDB3522F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9ABBEDE6-AF0B-48C8-94BE-F0CB440C2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A0C0A936-1968-4001-A9B5-F9332B7C7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E6E7A7C1-F488-46A8-B1DB-85FA432A2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A4F774F9-F992-4FE5-B8FF-91E6C842F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95E2F000-7112-4F2F-B90F-44BCE419F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F8B672E2-8F5E-4E76-8B4C-966216114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B48AAC68-4259-431E-87F8-960EDB0AF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DF2235A2-0647-4306-BAC7-D53C4E550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3665DCF5-13A3-44AD-BAD5-120FD8C3C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F877DDC4-8964-4716-AE96-DAC280653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6FA5FBEF-08F9-4392-BFD5-161CED210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F2285C1E-1908-4725-A77A-DA3B5CF6D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9231463F-E261-4541-BE08-4D2BB585F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807A70BA-9E65-4E40-AEA8-6CDBADC80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3E6A82FD-0942-4A20-A876-453A9CBB2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08C828F6-3665-4B77-820F-4D2B9B5E2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C54AE1F3-B8D0-4F7C-996A-C4706425F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7FD232EC-F80B-4BA7-BAF6-F0A8B5891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DED02BFF-D8C9-4B30-BEF5-40E40DE77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31DDE469-1975-4E7F-84F9-CD3880DCE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FE2BD08B-8928-47A9-ABC6-157C86E1C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5009B880-F555-422D-80EE-B77776D71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DAAB7BEB-A51C-4494-AFBB-652A6C43D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EA2C7DC0-7514-4541-A426-7736394B7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8C520A97-0315-40DC-988B-BC590B975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1702E451-4E20-4946-8A5B-22C8F0DC9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03024B3C-8256-49DF-A964-EA528481B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E14D73F5-2829-4295-891B-6C4EC8E20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B3709E75-03EB-49C7-80E3-F47D9947E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62461761-4C48-4B9E-9655-CBB9D685D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09A99797-4029-42C4-BC79-B616EC6CA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42D9366F-D763-4332-AD84-6D4B1F7D0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8EAC86E9-99A6-4651-B02F-CF6A51F88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2961C973-0EBD-4E65-8535-CE387F7A0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A8903B32-3B6E-458A-8EBC-55C72B892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FE2E633C-1A09-4BC0-829C-51A6AF116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BB28F876-0C5D-44B3-B1CB-5C2C1C8FE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2FF0FEBA-6020-4966-90D1-BF317BDCE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266DDB73-F5CB-4AA4-830D-E3DC138E4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222584F8-53F8-4573-AF6C-7EEAD2319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0D7E8411-21AC-40BE-B3D8-3F4D15AAD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0711ABB2-ED54-433B-B3A1-D3C4C1D0C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B567FBBA-BDF1-49D0-A0C3-5E09C6D60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8ADFA29E-799A-4ACC-946D-7FF84B842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54EBBA49-E4FF-4374-8496-293CB45B3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1D2CBE57-27FD-4BAD-88B7-AEDE346D5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1628639D-3A72-439F-BB07-C655A5251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353586A4-1A0B-4575-8447-68BE589B8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C0744182-E612-4BA4-8A81-0F963C104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3AD66266-6D9F-4616-9DB7-32D543189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119C5EDB-4BB7-4BF8-91A1-B134C624E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7142E1AC-E640-4ADF-ABAE-0F71C6653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552456B1-A55A-4944-91A1-EC24E7062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0EAD7A7C-E6CF-4CA4-A2A4-74D2F6225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64A2825A-5AE4-4FED-B6E4-97AC4237A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54E093BB-509A-4880-BE5F-E647F3C5D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73AAD356-DA8C-4233-BF70-453C382D9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74F908E8-0121-45EF-A4AF-3EC4B2305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959CD689-B460-41CA-B76B-A988FD07A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118E35D8-723E-4DB7-9323-82969A1BA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358D4A41-C129-4EA6-91F1-F2DF5DE3B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12708B0D-2B0A-423A-AE4A-29DEDE06F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D957EF64-EE93-4448-8419-BE9ACBE35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7B350346-28D5-40CB-B403-288242F2C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31E47B6A-982A-4561-BFBC-7FDE4B86A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E269C2FD-FE11-4856-A532-C24EF22E8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27AD56A2-176B-41F7-9A6E-8A0697E37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897A362C-1BE1-4EB0-A21C-0D59C98AB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3A04E3A7-7E96-4CAD-82EB-9FA431E9A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98EB50A6-FC2B-4DEB-8C15-699A61CAF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03D05348-C380-4022-AF9C-E161E8846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BC58C642-1B13-4837-9A55-07F3D2E88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A3006D1D-BEB7-41CA-BE1C-267FAE8EF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1DD73115-B047-4EAA-8FA7-6FEE866EE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755C1CB2-BB2D-49AA-9BC1-87383815F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9A59CC87-2468-4282-98EB-6BE1A3473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846B3B7A-6533-4D0B-A30F-E6003B0D4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9608D103-548B-404A-9B57-59CF5AF44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3C150955-CD8C-44A2-A047-F3F552B5F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87C7A915-326D-464E-9759-CB30AB1B3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E736F303-8220-4482-8867-B55C44038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0968992E-0017-4AF2-B845-37D838EC2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34A71AF2-2478-4709-B3DE-BB12E6447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C616B1C6-70D1-42D1-9179-126AEA566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CDA59CFA-DB5A-4DB7-86CD-9610D4AE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3036AEBA-7E14-488F-AAD0-1EBD231EA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01935099-FB9C-497A-9CFF-8A2DAB2BA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E3AFFF2B-FBF7-4E68-8591-ADD3DA911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5ACA0067-B4FC-4B21-8191-2B6549316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E59CDE0F-A857-49F3-A73E-AF3F2AEE7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0695858D-47E6-4559-A186-834E5DF11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856355C3-5567-494B-80CD-FDBD4202B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1674B71F-8F82-43DC-A26B-D58B0B1F7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20E24DA9-447D-4469-B187-2C22B93AE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7F295F7F-BA91-4F38-914E-C3DE39B50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40633430-FEFD-4CD5-8D0B-75C65CC03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239A556C-C60F-41F4-B71E-2AB053B82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997010BA-FFDF-4F5C-B8DF-317B186AC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8A372862-3792-4851-A790-ED4B8826E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9142A8B3-CD53-41C3-B105-6923BE661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2C8962F0-1958-4FA4-AABB-066776E00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04AA6257-FC8B-45DA-B888-BDB5441EA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62593932-05E8-4B9A-8152-0EC417554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53C218D9-6C86-4F60-9444-FE13E599E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1BA4E803-8A11-4E5E-8A88-3CCD2CE86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A12BF27E-25B5-4B29-B96C-4F9BA55E7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F4312648-6DCE-4D9D-B125-0F8BF91AB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1565E3A4-A0C9-4D53-8E1F-64258B54A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D6034FD8-9061-41F2-AF9C-94A20F267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FE8A55AB-B07D-46A7-B0C4-B0F8721E2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15FBF2AD-6F49-45D6-BAC5-8781F0DEF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1A096371-71EB-4D94-8C51-D5886E1AB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B9D9C338-101C-4D8B-A74C-C34C8643A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AEDCC235-DF7E-4000-B57D-CE0DD9B76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3AE3DC95-C4D8-4FEB-8E56-3A553E310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79A631D2-59E6-4BD0-A69B-ACEFCABE8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2B659AB0-D370-4D33-876C-C8C74C047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90134782-ABB8-4B38-881F-EE635683C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84379374-57A7-4B7C-9194-373626448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37F26959-608C-43EB-BD62-3299C56D2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B3FB06DB-F857-4EB5-BA33-8F82B1AD2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8BE24DF8-A98C-437F-85F9-D6B21B6D4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3B338CEB-0272-430F-BC80-F1581EB3F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C92C9421-1C4D-4445-A031-EDB65BBFB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0EB1D06C-3CE5-45A5-BB07-43BF52CEA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828E5E6D-F6F0-4121-9272-C056C7EA7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9C409492-C7CA-41C1-BD23-D73C9E36B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3B9A411D-810C-4EC4-81C6-752090CB7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5CA0DFDF-BA92-459F-9650-B9BA2CE23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6D217116-E246-4584-B22E-A15ACEC22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F08CD20E-9313-43F2-B2EF-9C0116E97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92159D0B-F077-4A06-8DA1-D8439F49C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370DFF35-DC64-4ACC-BCDD-EC5524261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66AFCE8D-7D7A-4998-B780-D066A6222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1BD513C4-67C0-422E-B2A1-D4ECA62BA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676F9EB7-5B11-464F-A02A-5FFC44F19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26EBCCBB-A988-4C91-86EC-2F89C58CA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526749C1-C60A-4CD0-9019-6C5EE7E89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21546032-C5BB-41AF-85A1-820FEF80B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3809FE12-A600-452B-8218-073595846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0BF58C9A-3AC7-45A6-9EAA-59E9DDAC4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463E08DB-153E-4572-9C53-AFE09D4B3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C6EBE5A6-BC29-456D-BE44-EF9719785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F79FDCDA-923C-446B-9FC7-255A5EE89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19A4B43A-1925-474B-B8A4-886B6928F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741E9645-6CEF-4207-A56D-8AB2BC638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43BFE6B8-E1BC-43F7-8BC9-A36D8F021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450EBB9F-F5CB-407F-BC93-D38EF517D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58C8C71C-211F-439D-93C8-2E01FEA3F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D39C395F-CE85-40CA-8D67-4BE15CB51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5E23C91D-BCD4-4A01-9C17-80CFECBD9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0A0159EC-0FE9-4A17-B5EB-1B446CCB4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CE939270-FBF4-496D-8D9F-5EB1F65FE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CA40A899-DDB0-4ACD-9918-A6F6E820F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62BA04EF-4F65-4AC6-B1C1-22F74EBA1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59C81617-4192-4A29-A739-7AAE88A35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37B77DE4-1318-4F1A-9E76-4E7B48C14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E7EE3C61-21B4-40D4-8AFA-647FC1323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94CB4472-E781-429F-8CF8-61DAA598C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079C56B0-8FA6-422E-AA70-2B12A5E40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36299D0D-20A4-4D02-9214-3EE6D2408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3ADC6133-58D0-4BA5-99B7-D39112ADF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5C7B8E65-D112-47BA-97BB-A95E3B0D7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553DC102-7643-4917-8859-C99DD51FA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109CAE87-9791-440B-8C7E-C64067C3C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6F088BC0-1BE8-404D-BBA3-ECD57C770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004E87CC-9E74-44D8-AE6E-CBE5C8312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1982EE09-D4DA-41C3-B332-19147D8FB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14BD5DF1-44CD-425A-A700-C9EFAC2B1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7425ACEC-B4BF-4935-AC5A-EBB6A7AB8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4939385C-D7BC-4C86-8317-D27301537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11337AF3-BAA0-4FA3-A730-3ECA3F0F6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80C66EB1-2F82-4C98-86AE-7C495C01F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FBE00CD6-5464-47B3-881D-9801CCAD0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EEF894EA-DC3E-42DF-8342-7F10FFAE5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DDD7FAE7-55D2-47FC-BBEB-0A5C79D56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12EF4808-65D1-4A54-A141-14B4FCCDF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95C3BE0E-5C4D-4411-BE57-C85433556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113523C9-7906-4D80-A8AA-737CCA69D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1B647FDE-273E-466A-8615-EF651AF5A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5740BFDD-CD28-476A-8B42-1B350368F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7F826CBF-5DD4-4A90-963D-49A38B379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707E16B9-5FF6-481B-A8FD-177748114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C7A0A804-3B54-480E-BE64-E7AE7C2E7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3F845559-EE5F-4DC4-862E-D51BF3677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4A19E492-51C5-49A5-AD7B-A5F59B4A7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534F499B-A65A-4449-8789-8F412690C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5DDE2D2B-C67D-40C2-AEB4-9B1B6BD82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A7215791-CDF1-45BC-9822-A2D351DA2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344EBB40-76B8-4566-8C3C-8F9941CB6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69528022-DBB1-424E-9DFC-05DABDDB2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C1D25D13-7EAD-4492-AE35-D08985FFB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C6B01BE1-D036-444B-A221-06CB825C0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1E10729F-2518-4DA8-807A-12AAAAC37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6C547895-5205-4E2D-82D8-A50F7396E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6E64D315-3DA2-4E8B-82A8-10B54E690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AEA7D715-24FB-4E7E-A77E-DE5F93BAF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7AF64890-7167-4771-A402-BEA8BB31D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6574B674-3CC8-413B-A79A-94F71022A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CB8C6ECB-C26F-403D-9E75-3FA60DF4D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899089C9-CC73-439D-A48C-EA1C62EDD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13EF62C4-55E5-47D2-A4ED-D66F19C32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26FE41EF-9904-40B2-9775-1E3213F67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33583C78-BBE7-4190-8CE0-3D3651406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A6B495D2-541C-40DF-831F-D7C7092F8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C4091C79-8E19-44DC-8F7A-C1832D741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E58CB000-F8F6-41DB-9815-891EE262B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37E10227-CE49-4614-884A-69A626EE7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3D45FAEF-D5B7-4A14-8B9D-5F66CBE00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05AD131D-4383-4EF2-8043-98A70ADCF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F73FE30B-4D5F-4E06-9E2C-D215E0639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D483831B-B338-4886-A43F-B7AE8B7B8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BBD4DCE3-1473-47DC-876D-5CF67EA81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1C4E997A-7431-48EF-A3D2-6B9B88199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62E16C5D-33D3-4527-AEF1-8169C5FB5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72B58D87-F827-4EA2-AF82-352A331A1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54A8B04D-6D48-45D6-BCD7-120E720FA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14F58C55-912F-4116-AB1E-770EBD209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F63DA473-CC38-4FF7-949D-6D85ACCD9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0CF87EEB-A8B3-4898-8A3C-820D18D17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0DEB12E2-C4CC-4E9C-ABE4-83CA59AE1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09E841B9-CB80-4008-8B9F-502509204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F0C32449-EF4F-462B-9694-F6AF4049B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4AAEFDF1-441E-4DA9-9DBB-C7BC9427F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02185732-663D-4EEA-9E7F-EFD25C344D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9130982B-0B20-4B6C-A74E-A38F1424BB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A149A188-EA90-4F20-94BB-E58B1BFF35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8CBF0E68-7A4F-4DA6-9E60-A10FC5DEA3E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E1264C68-F111-4A73-A79C-270E8BBB56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61A8B070-24C1-4BA2-8A7A-D8F8A779EF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3E9DAE81-0AE9-4B46-9CA0-3CCC115E0D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F49A375F-87BA-4998-9338-8F9C39B50D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F3693A3F-B7B1-4CF5-B5BD-05F9FAE2D3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2938D038-1753-4F82-A0BD-6C05728E87E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14CD4BFD-9245-4A6E-8C02-059F05B234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32D7625F-C706-4153-93DE-7583C70BEF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27DC2CA3-D5A1-42E7-82B2-7C3554487F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5EDC85B4-E40C-4957-B82C-F881C1EAE7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6592A28B-3048-47DB-AC51-453274A482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5B238C81-63BC-4520-BBF9-6477946346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5F1151E7-2A17-4375-B1FC-DBA41FFE7C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C36B7BDF-021C-4CB7-A2F2-873A4F4EA7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05ACEA75-86A6-49C6-9D66-F7AB147DC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8CE1814D-5C59-4187-BFAF-21A34830B1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7A9F5EDE-ADEF-47E2-8959-3FB905F5D7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E40DD6FE-DF65-4271-BAA2-12CF849EC37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8E54C84C-282E-40A7-863B-F2461A5F13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5656E284-801B-4FE1-849A-98C8B25895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4FDBF14-47F9-46B3-9580-85B603A2A6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84CF0C3F-7E32-4B1B-A2D0-0BC57E9B7D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EE8EB1C5-A13C-421D-9C44-7C9CF871A3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0F850FB0-E982-478F-BCC1-76E01FBFFE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9B14EF0D-1C83-47F4-8134-26951BC5B2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E00E7C6E-0C83-4762-9111-070A9290A4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D4B29CEF-01E9-4557-A86B-A0D19706A5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4B3FAB93-4809-42A2-AFDA-F55B41C696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D492C9B3-E8EB-4AA6-8885-5CD37DAA1F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3BB56439-79CF-4560-8B56-105BD538B5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7117EB38-59B6-4C70-ADCD-7F6D7FFDBA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62209C41-6323-4E0A-8FA2-1724759BBA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740C618B-7C1E-472D-9D22-946604B425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0DB3DB2A-6B02-4841-A2D3-FAC215792A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1A8B04C9-66B1-488E-8EB2-D4DBBD1CD3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73FA5B7D-EC4E-4FF2-B043-6A7F44C882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173C5C71-A641-401C-AC79-3E6DCC9D56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D1C8D429-9B3F-4D71-B5AD-FD0692C5D9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48446855-9F39-4A4A-B106-043C75BD77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4EFA95E5-38D7-4241-9F75-DF6071398C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CFC2EC9F-2D96-4969-BDDC-F9D265A88B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EA288AA7-A5E9-48EF-8F93-09F5CD5A71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8ED86F8E-3E37-4996-9BDB-AA8A44C5AB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A93A3EFB-A791-4A04-91EE-70AC728E75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3BD52031-150E-4E69-8045-60AC2A42AB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4D66158B-2EE4-409F-8AA7-A0F2FE07E9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45A89C8C-7830-4D77-9A90-955F26665B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17EFE548-1574-4CE1-A2C5-9E5CB9763F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352289CA-0375-48C0-9603-7D29E44A7D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2CD0EB2F-AFB7-4B5B-8E3B-72F9DF6A26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2B798B5C-AD32-4F19-B0F7-0061B43570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1370B049-61A5-4591-B10C-EBBBA1D66A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C60820AF-E8CF-47F8-A124-757E6883A8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E7ECFB13-DD3F-48D1-8048-0290F35794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871F3E15-A956-451B-B045-680219D8C4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45E98197-BEBD-445D-AB11-F69F1276AC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6D016A31-E33F-4750-94DF-D836689F86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46E26684-E370-4DF2-B064-3B24A72220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DBED25C1-EA54-4AF2-8392-7226241DB4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0B11D65F-27C4-4D7F-9570-6FC5A71D7B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D6B2F84C-520A-4623-B4C8-4141E002F7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38F4732C-10A1-4EE4-807F-9616EEA3A2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39F535CA-8282-438D-AB2B-53ED79059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D5D3CC6-F264-41AD-B7A6-85F445F72BC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B7ACEC52-951B-4898-A701-1B32E96065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CAC5F6C3-DF01-46AB-87D0-C568B4282D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DFBF32AA-C970-49EC-9BA1-114044E748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3742D917-62B0-4D76-BEC5-D4EBE23330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085CB255-7A4F-4ECC-B784-E796C87008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040C8582-6C9F-4446-9D1C-8FB5F224FE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06F73AE1-9935-4A6D-8C60-734422AEE5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3E088814-AD64-469B-B7FC-105FDEBD15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04610547-E852-4F88-8539-52885A2FF1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57BF40B7-8E9E-49F2-8BE4-6D43C5F434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650C6878-8C25-481A-B582-DE4F0B911D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D570818D-6EA4-4FB1-992C-A66C00DC3C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FC4DB6FB-FDF4-4840-BD55-8083BECEC7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911A7EEA-90F8-4717-82F6-ABA3B60FFF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FD0BE470-A8A2-4043-90F8-D0699F737C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2F529FB2-DD21-4A99-8B21-EF32CBE5DD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C51AAEF9-B408-43B3-935D-4204C68A38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E9778DC5-781D-429C-AA0F-C4FE96AEF8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D14AF481-5E38-4235-8A24-7819E233FD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AF052944-73A7-4BC9-9A03-16519E1587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6006BEA5-E809-44FA-B374-8766E27D08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FBEAEFCA-C053-4CA4-9F20-2443CC88E2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C9737FA9-6E39-41B5-8F20-D6BDFD1AF2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6A30960B-E31D-471D-A3A3-5AAE0165CB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BB4FAC72-1B73-4FC4-AD0F-E6AF8DDC94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C2F51333-7DA3-49F3-AEB5-D7DE21382E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585E5187-1C6D-413A-8539-E542F4203E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1C656CC1-92C8-4B8A-B326-1F06ED4A2D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05D56CBE-210B-4E29-BEB0-C7A44B708E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AB82C2E7-1F90-402F-B2EB-5279C424E5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EA9CBDB1-A4F4-4EEF-B77A-06FC5D4DEF4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7D586E57-21B9-404E-87CD-E48B685737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286C3B8A-9FCA-4022-B8B5-367A2FE95A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55E20D8D-9F72-4270-8C45-9C086DCBDF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C938F21C-6435-4CE4-800D-0BF12EECEB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42ECDC6F-6FE0-43CD-91AE-CAB88F950F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2A29AE94-F5F3-4328-960C-1B199035A1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14A6DD1C-F7F8-4E9D-827B-5D5875E7FE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5FF5FCB8-EA7E-422C-A61B-56ABA28F7F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DAF9F66E-D92E-4FF3-85A6-8C72A44E73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EE38B0B8-F1B2-48E7-8469-22FDE48CB9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5F57EC69-A5C9-4308-9EE2-9BCF271E89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2B6DC4E6-6AAC-4C1B-A5F0-B739245FB6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D3CB7931-041F-40F1-BB6D-D530D0D430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F76C202F-2E17-482B-8C14-C1445745F0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3A8E6A14-5085-470E-92EB-F04D90480A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0542CA72-E1B5-42D7-AD47-634448617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5EC6BEA3-45D6-41B9-8B6D-E4D9C9DCCD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551DE569-AB89-444E-9BBD-53311159B6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6B410D98-B5AC-4FC5-BA00-529FA2EF1D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B8956037-898A-40F3-B408-1C824E2E55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9F6C993A-461B-470A-A028-27F8746A3A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9F7C1CC7-9E91-4C46-BBE3-BFAF1DCE0D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C803E9E7-2DE0-42F4-A2B1-354E86532E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9F715D4D-8852-4C50-AE19-F3669D46F1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DB581059-2DCD-4DAF-B85F-5366D0FF46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E246501A-93FF-4D8E-A280-62500BA2A8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A9095F77-ED06-425F-B444-E2E22EAC70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374869CA-FE28-4FB6-B07B-78B69838E1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5BA5BED8-DF95-419C-8ECC-27052A7950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C4AA9DB6-A3F6-4373-A4A4-632247F1A7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564D1B90-ED52-47C6-8E31-D6209ED9AE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D836CB61-4B36-476C-80BC-67A210FF95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43260237-475B-4B77-A524-BCA385CD1A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DEA59F5B-39FD-4CED-932D-7EE0152A21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6048C5FD-CF4C-4650-A915-10B7C0AE23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52413C9-9D12-42F4-88AE-1A9CDEF574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A5D26ADA-B60C-44FF-9528-8F06E82FCB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8039BBC2-7272-4C69-AF9C-5D47DF234F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D7603CCF-72DA-481D-9F21-0EB474AD77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25A4587F-B8CC-4D68-8B1C-12FBD8406A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C680E0C8-6B58-4E9F-B681-C684A404B9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4086F04D-C286-4DB7-B874-D09ABDC73D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424CE754-E1E2-4842-8332-383553B758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6C8CB72F-26DE-42D0-B91E-E9701A57F2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3433AB01-0999-4D1E-940F-EBB5D1FE72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41CEBC17-E6CE-4128-8370-9EB3945FAA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7857DAE1-6BE3-43D2-93B1-434860F10C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A681B640-9821-4F26-940B-D2C8FFF383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CA7B3C1D-2FDF-430C-A93C-005B9B4D16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89D78CAD-AFD7-43A8-A28B-0B1EFA8118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AD988B58-3E70-437E-AD6B-0E92399AA7E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53150EB3-3EB5-4C61-9C34-123BAA5489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B1738E11-397A-4F44-B61F-6E11314F8D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82F1AA2F-4C4A-4561-B335-449AAECBA9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97DF0F6F-01C0-45A6-8C54-53103DD769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AED23AAC-69AD-484C-A889-1BEAA5F4F8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945E74F4-7725-4BA2-86A8-6EBF14DD30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FDDAD37F-F0C6-4639-B188-FF92102726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4A5483DE-A93F-4BAA-9462-8C5346A888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DB20E4DB-5EBB-4CD9-B1EC-354E6676DF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253BEE2F-9DEB-4CCE-9091-5A73EB2F7D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9870FAA2-571E-4742-B65D-0B79F21837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1A51501E-C973-42FD-AAE8-151F3AB4A5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328693E2-921D-4183-93D3-8EE0A253B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7D89480-FAC1-47F7-8594-6C535FB577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24B175C3-6DE5-4E82-A4FF-DF28A6BE3B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2B0B3054-44A5-47C2-A78F-EDEF8633190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EDD98D0F-3089-42FE-A49C-9806CAC8FF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CE2F9868-933E-4A50-A973-882CCAE0FE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40C1E398-8ED3-49A6-B991-FBDE75B61B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16EB2FA4-5F06-4673-9511-E4CBDE145B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759D7523-AA11-4AD5-B425-E9F21ED60F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97AF4E57-10D5-4A7F-A9B2-DFEBD96B23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11F88CF9-C217-4FE6-BB82-E7D912F1D8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5EA2639C-FA89-4EF3-A9F7-5BD15EEA62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2D7016BA-8817-4027-A2C2-9A4D13BC9C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750C7C7E-7DF2-4D87-AA9E-6078C40166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47A46C27-8FFA-4929-B8EF-98E70B2C5C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58756C14-8354-44B0-BABD-105ABA930C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F6CF7C09-A677-4E4A-8EF8-CB267544B9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3FF8CC45-97BE-4AB5-AF51-09970ED541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1987004C-80B4-4508-B6D6-A8D4EDC635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0320F40F-DCDA-4A3A-9B62-516359EFB9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1D2E7094-B0B1-43B6-B10E-BC9B7A81D3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DF3497B5-96ED-43D1-9AFA-F23250C5B3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543FFF7A-4F43-4DEE-8A4E-2BBAD70AB1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928CDD88-1C85-4C38-923F-71A40F14BC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50A4CD0D-6101-437A-A516-6EF38FCFD2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04B586B7-AA4F-4E1B-8B46-F8F7DA673E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8689C213-5D1B-403E-B0E3-434903AED5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4CFC2D47-C8CA-4DC4-B388-589DC170B1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D5CAEA2-1570-4F74-B348-165AA76202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79420935-0233-4F37-B28B-DB929F2E17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18F65C21-733E-4055-A0B2-0AC730515A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275000C3-E12D-4E30-895C-606512509F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0AF52D5F-48C7-469F-AF96-F57CCBCCD1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09549425-A8B5-47E2-AFA5-B1F0E7E86A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1F76E665-86A5-4186-A1E4-6F1FF9AE2E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08FCFDB7-CCD6-4C32-BDB6-7D43928E36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2C95D704-37F6-430C-8427-30AAEC92D4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B32E4922-10D4-4CCE-A0AD-A85BD79B47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F07B387C-CE0B-4E98-9E50-AA19420BB2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AFDA36A8-63C2-4681-86F7-175985ECE0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EA8C424D-2E44-4CBE-8F46-97A0F88579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03118E62-CE98-430A-AB39-A141EF23EE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F2EE1613-2759-4AE4-A3B5-81CC6A5B56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EF213F34-39CB-402E-B2F1-6FF9FD9285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0C243341-84AC-4731-9115-326F153840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1876B7F0-3135-4D86-B8D9-0E28BD49AF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D9553069-721F-4F29-A509-D6AF047DF5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FE955123-189E-4278-A3EC-95978835AF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62207D25-B682-47C7-AC45-6859D16DD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A2D3312B-9535-43D2-BE7F-731680FA1E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0CB8E05E-D7E5-415A-8370-C76D29C147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D082550A-6EE1-456D-87F1-3153428336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49FEA929-B5E0-47E4-A2CE-F81B2DF819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E81E237A-C318-44A0-B552-35FE4622EB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B4F3C496-F48D-45AA-91AC-D787335DF1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C7C04FBC-B60F-4E44-8E22-E9ABF7B67F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3EAFBE2D-6D1F-4DA5-90A8-576A7BEC6F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3C014A42-3941-4909-9E02-AAE8201FF3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0D1B65B4-4ADE-4697-AAFA-5659805FFE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B807036C-4BF1-4996-8823-8E5E7A03C5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6DBD65DA-2D76-4CB6-BCA6-1E8679E83A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EF481531-2AAF-445B-8ADA-F3D30645C1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4E6F946A-CA6D-43EA-A559-FD29E8AB9D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358D5244-1499-41E8-8618-BBAA7E3DCB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8689FFF0-2CB1-4941-A556-A65754BF92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560D5392-9FB8-4604-8A9E-4407E4C14D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0882A3CE-2A26-4563-AC1D-58DEA6EE15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A2753B17-1375-4367-B226-DCA7973534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FA1C1FCC-D83A-4F47-BFB3-8EAC341393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F671E322-9B77-47C3-8D87-FEE30A90B2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2EF2BD3A-1CBC-4805-98E3-FE62B42C1D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38740264-5C43-44DB-97A3-35EC667432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D22BB16D-C38C-4793-BECA-5C48A539E3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3972A0C1-336C-45CC-BC91-25F0BE0C02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BAF2F8E4-2128-4C04-8142-737E3B68C4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16051FCB-4DF3-44A2-8B95-34F2EE08121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3534D902-88A4-4FDF-AEA3-7F7787EBC1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97CD9495-C327-43D5-A6A0-9C4272E491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677E3604-9307-43D7-A1C6-F75397E979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DA6FCE6E-8EE8-4590-942E-2B01F813EE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3FEF31C8-E052-4CAE-84F4-2A856CCD7D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3B812487-EDCA-4698-8F1E-41E5BCF537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532B5FCE-9C18-4040-A8D8-769A40C706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B20273E9-BDA1-4C99-9014-3B095DE46B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24637D83-561D-4FC0-8BC1-584EEAA9C0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C4D5C288-F774-4590-B81F-8DEA901FA9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E273790D-A4A7-40DE-A5FC-B1637B7EB7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E23BC315-FAF1-4D69-8BFB-5B44024E4E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418E7E62-9C7B-45F0-B471-DE74629797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B4E9F402-1166-40A4-BBE3-C991EA5819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00285AD5-CD43-4CB0-98E0-60D7FDBC1E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24DCB2DD-5BBE-4394-97F5-2CA84F1336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B480FC60-984A-43D8-80FD-F8C2F1B466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E0763D8C-6EEE-4261-9A21-2AF70E6D4D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AE631CA2-BC7A-4DA7-95A2-0FDCFF1034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34C166D3-2A0D-4802-8F50-94BB4C9ED5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4A050EBB-D080-4E88-921F-B1123D0F6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8AA36DB6-111F-4C0F-8E69-0CF98BA342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54CFC292-1288-42BE-B469-327063CB12C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9234B56B-DACB-4565-8AE1-4780955A17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9B84D841-A2C6-4F4F-87A9-3C2BE32A8A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A3030E0D-BC1A-471E-9EF1-2EDD313043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70DFB1FF-C8CD-4B20-86C6-A4BD3C84A8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86EB1F71-F134-4D76-83BC-73C6C6A993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92C7538D-ACF1-4162-8039-7D1583DF24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811546E4-1423-4B9C-81D8-77AA27DA6F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86E9E59C-FA80-4A14-BF61-05203F5586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21760EDC-932C-4352-9DB3-A93AAD63A1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057B1A11-02A8-475C-A09E-51DE54B685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9B14640E-417F-4E61-8FCC-549ADDC730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1996FFCE-F9F9-477E-910F-BF86D9A8A1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E1B98F5C-2806-4269-908C-D16EA298BE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6C8851E3-3566-4364-9049-0610805FB7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45AA2B3E-5D56-486E-8650-FD2BC1134B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FE06664E-DF4E-46D5-B571-70362627FE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D74925B5-F925-4514-9605-FF5CDCBED0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B8AF712-E343-4F0B-A821-8273DB598A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BF4A7A6A-F1D2-435B-B6CA-39A48EF992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95C025D1-1196-4D68-B813-772CAE1E0D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586651E1-C0F4-42E5-B32D-5C5B1CBD1C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D38C8CC0-0735-40CE-B503-7A1FC2D0B7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313D3926-66C5-4FB0-AC96-F6582ACB71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9A4D1302-748E-4A50-8E79-E744E2D268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22152495-1A2B-415E-A391-930D551F27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24B8ECDF-23A6-4E3C-BEC9-DE8AC89E38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61B093DC-071D-40CA-AD9A-7CA724B9BC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CC64A8C1-2F99-4BE5-AE35-B57271826C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65228BD0-B6EE-40C7-B5D6-EA6DB863E9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4A070BCB-21CC-455B-A33C-A5199A7E60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5E002F77-E30F-42D1-B402-8F4DCD31F4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DED70A7F-DA7B-4A62-9968-5A8DDB272BA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9A8B6266-FA53-40C5-B0B8-559A02D31F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78FBC498-F6EA-41C7-8349-49B47F8F80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E635C7B9-1645-4EDC-BA35-FD3C66528F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04467FD7-9E51-47EB-A2B3-D2F1F496B3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763E8ED6-FF22-42A0-8D5B-43AB9D8610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770A92A7-1C7F-4D04-86CE-2F173A3C9C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0CFAE3CA-5624-43DA-B750-C50F9543BC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1ECFE8FF-A165-4485-A563-EFBFD69242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4086F4E6-8D3C-47F3-9ED8-20BFF8A105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41BF2510-6866-4B54-B84D-C91D637789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3070DD19-7BC7-4204-BAAD-884241DD6E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B2381442-D353-45F5-9339-D6BEEE489D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142513AD-DF31-4D07-BB90-C6E31CE2AA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EF197F73-0990-4545-9D80-041B59ED9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EA8A4E48-B336-4547-A417-4CB81449B7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C46BCB2E-1E7C-4CEE-85FD-B760F119E8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B4530467-699F-4AAF-8F7D-25BCB99495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4CA858DA-237C-4957-9932-6E1163FF7F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90A35394-664A-4498-B4FE-843981DC94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B2A8E07-BBE5-4DEF-BA39-87BCF1EB5A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530EAA93-4501-4668-88BB-080287187F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225AC2A4-2D7A-4171-84E8-7F6907E0FA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97361FF2-AE27-4E86-A4E8-174330E741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1E854F2A-9976-4FC5-A89A-32E8200CB6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1E40C5D6-6B56-4670-A481-F6C034B36F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6D549905-16E6-4092-9F9B-36ACD354AB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58A26A11-227F-4894-A003-89610812DF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42568048-94D4-4FDB-B41F-B6A011488F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D61F8E38-B85D-4350-B52A-3F4B70C3CC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6E0E04E2-CB87-46D7-B199-7CACE1AA58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AB34B364-C4CF-4DF0-819C-FA21DA1C9A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615BE9CA-84B1-4B83-BC3F-EDB0E7775C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0C07031E-6680-4351-88DF-BDF7FB906E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82E383EF-6A05-444A-883F-3A0F529C30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EB415CE1-DDCC-4273-9FD8-210E18A578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CC34639F-9475-4DAC-A3BA-37E1D7ABE6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0121CD3A-E8AB-42D3-82EB-2D098D897E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12C780DE-C7C3-4927-8E76-32B4D8A096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999FE326-53B0-4F42-8DBA-C1E8119572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94076348-2C5D-48AD-BE14-BF0BC99ABD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2BAA621A-01FB-4BF2-A0B3-E568AEE26B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7CA2F55D-69A4-4B16-880C-61676BEE0A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5BF852A7-4D8D-4D11-931B-5CD11F990B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54C28CE5-59AD-4F9F-9FE7-D7C34FDD09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01D0AC91-5814-427B-BE72-4C1A9EA068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C82F2C60-EB86-4B18-A2C9-7FE478E5AF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BB27D328-AC9A-479A-959F-BD1C0E0443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EE2D3A75-1381-47F9-84A3-7C2E24B4F7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B6556584-5FEC-4C86-9D4C-029BD017B7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2B00DA54-E0AB-4862-BB71-C099E70DFF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68BE3A16-2072-4FCD-A359-134B27137C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2B00F81D-B327-4281-8F96-B0ADDB4A6F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08E2FC56-4F6E-473F-AFFC-F1C86457FC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218F3755-C84E-4C58-AC39-864B8EA4DA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9718F7D5-49CC-411D-B93A-6FEACA03E4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C21830DE-8415-4013-A372-31C06D7A37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45CB4DB8-C45E-4A0D-BF9F-9912887E31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E053E208-EE37-4253-9160-57CDF61003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84A04390-3AAF-4E6A-8341-6083DDC8B1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6BC4338C-77D5-472B-8B49-56FB280303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F94E2E1F-B922-4630-BDC8-79E4BE236F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95BE314A-53C7-4E7F-9EBC-2EB001A87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B868A707-4383-4B84-B18E-D4E2A3BF82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E1BD0D7C-19E5-4CF9-9840-91A6B2BCA9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533B4A13-B488-4F80-B366-FDE3924771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A13AE6A2-9DBF-4BD1-8A4C-F8674171F5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D28D8843-9AF2-425D-8015-0AC08C0E79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5AE0811D-041E-4F12-BD7D-FDF8DE2661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588D863C-D994-4311-909D-CCA124D76A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4FD84084-EA8E-4B91-8058-AFEAB9AEF1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41524E4F-57AD-4638-B9D4-ABCBF0A66A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57D4A0A4-E365-484A-A1D4-8A70529622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970DDC4B-CCD4-4F71-A021-FDB2B4CCF9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CE26355E-F4E5-4CB1-BD94-17359FE903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6EB0BA17-6556-4FF5-B32B-0EEED3DADE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153255AE-E186-4CEF-856C-AF5C4ED107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3BEEC023-864E-4C03-A41C-6D62EB291C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31801CDB-E78A-4F41-AA39-B7929F7677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D9DFE8C9-5F97-4F7F-B109-2B6B5B0202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3351C224-4A08-40BE-88AF-27B49586A5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22306DB1-BB51-4FB1-9788-FA91A60E1E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A0964AE7-C7FF-47B9-8C34-D032E2F307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D27A9271-C6FC-4D37-B464-760FB4BE3B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64A7FF87-AB22-476C-8037-F28A3DF9277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F7CA002C-4341-47C1-B969-77F3B1B29E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15653C9B-268B-4C06-81E9-F2ABB2DB80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17376930-BD71-4DE9-923E-30C558C47C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486277D1-EB73-4A30-BF8C-8738E90E7C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DC1C4468-340C-4001-B7A2-99BFEB6AC5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5CFC790E-1054-461B-9259-6E9538407E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E0194674-A042-457F-8052-B45E5FC2B5F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D84A6026-1ED9-48DD-A23F-B8B4D93615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046439F2-D1C1-4A77-8BBD-E575325AAC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7B1B4A83-4547-42A1-944C-774AE0DF4D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7317EA2A-B707-47C4-8DA6-359505471E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D87E02A8-1C7A-4A47-B792-139AA2A543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344A9647-1EEF-436B-B3A2-5EFAA8349B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74FF857D-D809-43FB-8117-0042F51EA8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F5FD0133-FFB7-4057-82CB-85D8BCCC52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FB5AB732-CA8F-434B-A728-FA6A6818B6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2C85A5CE-7D74-4EDB-9659-D9356119B8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F1BB151D-E43C-451A-A868-50D8891140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D21D3D7B-B36C-42CA-B90F-FAD8053EB4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54660B4-F5DF-4795-A262-3EBCC93CE9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29206CA7-C686-488C-B7C6-2FD042EE4E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F4C266EB-571C-4BFF-BE27-E879EE71AB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6D8395D2-A2BF-4D61-BAC3-E394836F92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B8351814-4340-494C-8AF2-5F2D9BE1E4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0D017C7F-BA03-45F5-A551-F356F1428F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1550F9BD-270A-40F6-8DC2-3A2018962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2815B370-F2A3-4A41-AC35-1A853B8454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AE9C7C70-E996-4F80-8792-CFC8C580C9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32D33433-FF69-42F6-9C1E-365CF7D6FC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B83DDB53-7297-4AF8-B249-2ED2989C0D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89BDEF83-1A85-4C6C-9646-1BD88DA510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9D7E967-D87B-47EC-A504-D4823760A7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4E5E0A9F-1638-49F8-8A1E-C813410A45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DD2899E6-8AD2-454B-9B82-2A19610E2E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0F20DE31-C4B6-4CF9-97DE-D23C0FD548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2A8EB151-AE4E-44A6-989A-8671E9FF7E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F484FEAC-FEB4-4A15-AC94-77387446A9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8CAE006E-4B53-4991-8F1C-17C828A623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DAEFA1D7-C75F-4079-BD93-9C8C1627EB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4D13EE5B-0263-426F-8840-A65FE39207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9B549216-5608-4540-923D-E739421D3E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7F781F81-49A2-4CB4-8D4F-0E20D413F1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95B6E095-7446-441C-A20D-75EEB84C9C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53399A81-BBD6-428A-AE92-14545071EB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F38D2F58-0438-4D93-939E-6BF0E52D14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FFF29632-203E-4327-BC9A-E34E91C949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55B11DA3-1EF5-4204-8067-C133325FE9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8A0622C6-DD1D-4A1B-AF95-2D83C3AB03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9F02F5A1-15C9-47E4-8AA8-379F33E0BE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541E0979-504F-47EC-B218-4E6AC8135B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A07E5430-D049-4942-803B-67FD87F4CE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08BDDF32-9E39-4D4B-85E6-736BD03E51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2CC6139E-D7B6-4B2F-816D-4F86B18FF3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F7AC5178-253F-48EB-BE00-891686E889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B4006077-8873-421C-AE0C-0CF41D2164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B013794D-D0EB-418C-B84A-BDBEB12D57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AAE060E1-BF72-46EA-8069-3DB0868298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7CC1E959-48D5-43E2-BA91-8F5F3974B1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1C4CFFDF-83AF-4A5E-B1B7-54021364D6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5030E5F0-1DCD-4502-A193-8BA9E887BC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F95140D1-EC4A-47B0-BD88-D530F26149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44A2021F-85F9-4424-8814-58867D1B44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48B2A302-7F68-49DE-A68C-A63A0DD0A6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D0428739-4735-49A8-8DBB-7D6A805F86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9C359F8F-3B6B-4D24-9024-172AF52DD4E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3DD0C7F9-54AE-497E-9E0A-FEA4EEF194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3896C6C8-1857-43B4-870C-0A563172FA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80BDB290-A6C4-42FF-A55D-671313F4DF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F1E6676D-33E8-4E82-8806-56305A3033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1335A37F-6AD8-499F-96CD-02DE940D6F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4741BBC5-4DD7-44DC-830B-C4F02273D3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C3BA2DBD-1652-4910-AD40-A42F639164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5982EAC9-6D32-4F91-9AFE-D3CCAB1303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C810430A-B83D-4EF0-BDB2-DF419EBDD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FB225415-A797-4D95-BB5A-DB78757DFB1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BACEA655-8A9C-44C1-914F-EC67B276A0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91BBF354-1B6B-4F6B-9B6A-B713C09F80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80264836-9BDD-4AD4-91A0-94E579DE92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33CDA54F-3F3F-416C-BC5E-2C0948708C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F734F52C-1C36-408F-9D04-0CEBAC6353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80F93C3A-A60E-434C-9B23-B81ABB0BB0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56DC3305-4DD7-4FA5-BD6A-D9686F089F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E0BE02B2-AE94-4E21-8573-3591ADB11D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F4DFB94C-03D2-418F-A1BE-042D4EDD66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49D104B8-E77A-4F49-BFC9-20540AC68B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866DB656-8FDC-42A9-9746-AFC05D517F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06417A3B-01F8-4B30-8157-C728A322A1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4D7E65BA-86ED-4CC8-8212-37687391C8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865DCF44-E555-4479-A684-F2C93D260B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F38A013C-396A-40E1-8F46-86A6C1823E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D3FF88E5-F1AA-4DB1-80D2-0AEBA0C45E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BE9F7795-E12B-4F2D-8449-582B0F57B8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6F551344-7A2E-4C91-B07B-A9A837233E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450D2968-9320-4AAB-98CD-F51AE7327A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E1DEF1E4-052C-4EBC-A6E0-148BBB7396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CCC277B9-A207-45ED-8E23-FED931CFD1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FD87B58D-EF92-47F8-9B45-98F1B2F404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CA5D6AC9-8213-425B-A3D8-9091652CC6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1F772A5B-F04F-417C-B2D8-D523EBB578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1D1214A9-F907-41C4-AE26-42EE9D2639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39EC2458-69B4-4BC4-887F-1835AD1BF1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46B62FFE-603A-4E15-B26B-EAFD231FEF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E3CFD875-3B26-44D6-ACFA-68AD2DAFA9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B13866F2-F5A5-4F11-958B-50313A8C12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AD8AF5BC-8EDB-4DCD-9C4E-1F583641E7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F19D71F0-336A-428C-A54D-E8BAAD6CA0A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9D93C4AC-0AAD-400B-B679-20C9871194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0D935681-4EE4-4087-A3F8-D4D32D8FD2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74891894-6649-433F-BEAE-2C94B079D7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B2071A17-B239-4727-8B6F-B988FCD5C3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8116CA10-04D9-4BE5-AB4D-321A6477BD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D2E9C2CC-2C7A-4B8A-812B-2656DCEDD0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31431215-B64E-42EC-8F4B-D96BA6C6D1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44431DEA-7EC2-4614-97EB-BB1809A136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D39B0BF9-A51E-47D6-9AFC-2302E142F0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0B4F9178-EBAC-492E-858C-435482ED17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5068D4E3-1EAF-4B57-8AA8-4CDF57C805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C73F437A-5A57-4540-8093-97D5BA80FB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8C28A74C-B5F6-4D21-9495-0F46BB0A06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2ED594D0-C1AD-442D-B580-9352F60388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2E91B079-5FEA-416C-A1B1-EA02255D8E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0DC07286-8FDD-4A04-88FE-799810D36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1D1012AF-D730-44A5-BB8C-1A974CB766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1AF81E37-3B21-4BEB-95D8-9F5847A7E8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31EFEAC4-1D0E-4DF6-B8C1-57DFF14D59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E4BB69D8-7370-462B-9BE8-6A513D2E5E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99C50C73-BC34-4183-88C9-32BF4943F6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32E52D94-E94E-4DBD-BDB3-83F0D9D628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299D324C-003E-4D5E-95ED-6521D7EB69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110AA1BC-0408-4CC0-BDC0-EACA83D6DF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80D5CA83-B0A5-471F-9B59-CA5B8AD1D1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930E87C7-0D2C-47D1-BC6E-19682C5CC9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86936790-9184-4626-AEB9-A51DCBEBE7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8D075920-4035-42FB-A436-5A81D64E8F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A24D4E7B-E4F6-41BF-A0F3-B8B4A828FF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CB16D9E5-89A0-4B41-86B8-69C8EDD49A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CB2A543B-E72A-4BE7-A89C-2B47D33011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9F3A230B-835C-48C8-99F0-EF33D100E2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5CDFA337-2270-448B-B5D8-DE79718857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540B40C5-841E-45B2-974B-747FB2B812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7C1F04E1-482F-4A7E-A042-7357829284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B6F69E44-D5A6-44A6-9C62-8D893119D5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BC85AAE0-BD3F-413C-BCBE-BBF222CE6D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75A18584-723A-41B6-B828-84B8E9CC67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E839BAE6-BFB2-4514-9733-32748420B0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9E7D9386-388D-4591-8559-83CFC95A39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5673D71D-BD1D-4D43-B840-0C77695649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2B8F846D-6A68-4C0F-ACE0-69BDC7DA37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3CEFAF53-9B36-46B2-A0E6-2FE2720C01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83032F0F-D8BA-4F6E-957D-87F90C87D0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B4B6730C-3E0E-48C1-B83C-E23660E8E0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7877A850-6962-4E42-966B-5C424ACDBA1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5CCDB137-D332-44E7-B750-57B296A743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1C4005B5-3BEE-4DB7-BEC8-CF2E6656D3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DEEDF36D-EF27-49E8-91AF-35EF6AC8F6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6B121925-B773-44C1-9BA3-5623FCA8E1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763900ED-2D45-41C0-9285-6BB51C5B98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D8A57D31-146A-46C6-858D-5C98D833EA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A08C3DA6-020C-4BA8-8B3E-BA157A7BA5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DC3F9045-492A-43FD-AA7C-FFCBF60B1E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CD39FBD4-7912-4AE6-BFCD-E1288B05A5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2DA8EB29-A2BE-4437-B445-39BA6059D0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AD6B0FA6-CAEE-47B0-8A6A-AB3DD74B15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27E79EB9-C918-4A1C-85D4-A8A97C0013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FE8940C9-C9AE-4CCB-BE25-6BA1F964C5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574D22E6-E285-4E40-BA1E-CA3C3F4835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F7E05609-B89E-4B24-8705-2CD9538DAF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7A0B73BD-11C4-4108-97B9-90554D35AE2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B7B88B0B-B767-4D98-9107-DBBAD8500C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16543EBB-25BB-480E-91A9-849113710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977529D1-2C75-4411-AE03-0D5A7F090C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24E128BE-D928-4F74-B0F7-3C5BFF2151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C51BFA73-D3A5-4E4B-A903-C1CD903672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E73DB8E5-6E1D-4689-8394-7D7AC69820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A0E2D3B7-438B-4325-B7CF-FB2052CD04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CE722A49-8E76-458F-9ED9-0AD3D3317B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A4A5B5CA-576C-4913-B7F2-FD98E0300F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1FB435D9-84E9-4797-A941-F475B4B8697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DF3A5D8C-FC9E-4D7A-9AEF-1D8C6FD748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2D7CEBD3-7ACE-4591-92D9-C79B6A0E71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BD74B5A7-99BF-4F3A-920C-DC8D5DBB7B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EDF304BE-D5D4-4EF2-8E6B-89587C42CD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F6B73CFD-D83F-4567-9A00-9EC39422CF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E7227301-D4FC-41C6-B25D-5AF7105BD7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0E057B0C-BC6C-4980-A558-37476EB6A7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3A194414-181F-4C8B-910F-16949CB08A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A458AFEA-4194-4450-BFDC-E504A68118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41B73033-FBA4-4602-8EAE-0B8B3AA29E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FAE61C5B-B90C-4FFA-8EDC-9D441E98EB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D1106B78-3B70-4756-8638-1AAE84800B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85E70231-CBCF-483C-ACFB-97A25AB1F9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3919EA6A-C545-4BAD-8A53-406A6CF7C6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E92620BD-5FA5-4241-9530-49D78AF4F3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5C9CA2E0-04B0-4EFE-9F48-22D8A6A37E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A7C8DBD7-599F-4398-A696-2AE627776F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98931A41-36FF-44D6-A8D0-C04A3D2C18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67A2411A-1CB5-4330-B4A0-B8F78BCEF7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6A9AAC4F-1FFE-44F9-85F7-FDA3A957B7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43636CC6-4ECC-4439-A81D-8D7CAD70D5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56B7A26-025C-452E-8395-9F13D750B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BF44B36A-9CE8-4E77-8968-6FF2EF46A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E6AE383-DD72-4992-9CFA-DFCB88348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6F8D4FBF-BABC-400E-8AF3-B9EED97C8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F12764F7-1EE0-4F9E-BB2E-1FE9289DC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0E48B5BF-B47B-4923-8F90-F65A3B778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2E543F51-2456-467F-B25B-4149605CA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C23D0F1F-52DA-4EEC-9FF7-EBBE1DB91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BFC4ABCB-55F9-4B6A-B360-91640BCA4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E9EB9081-7BAC-4961-AA97-8A55124E4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D8AB5EA1-0C67-43F5-9CD3-DA0DDB8F5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13B7E14-A47F-47FD-8A6E-89C730944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E6508238-C068-49A9-B593-672AC50F3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99F3BD07-BBE4-4CD2-AD77-FC2890DF5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9134EFF9-7F92-42FB-93FB-47C6F6710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4BE5B994-3C3B-4037-9850-798B953BE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832F596D-D63C-4ABC-8123-23FB3502B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5A73FB67-3E5C-4D00-B5E7-7D2302323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936C2ED5-7970-4F62-8851-ED34B754C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E837461F-2652-49FF-AF5D-D68B75E72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6590D4FB-3E4D-4B48-84D1-C7CD0D559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C5BA8249-301B-4598-A5A8-11D43ACC7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B914C9A4-1C08-4371-B3A3-2A16D61C9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A10C6B8F-DB9F-42AB-8A31-D6F61D678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55ECCA78-01FA-4B6C-AC8A-7E5DACBDE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17537D01-C51A-4357-8328-8C4329C90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E9CC6BF7-520C-4886-8BEE-CCCEDDF0D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027CD4AE-D615-499F-91AC-4A309DC6D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75AEDEA3-FE5D-4DDE-9D69-ABA2C2842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5D9701D6-3E94-421A-BFBC-A442EDCE4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0442C041-0A84-424D-8746-E726FD311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05F0EBCE-7B95-49D0-A133-4DB2BEF20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968245C9-14E8-48FC-8F61-D7A4BDB68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A8284DF6-489E-45C5-9207-8EF3C98C0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5F637D94-046E-400C-B6F1-6A2DBA32A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D0887A82-9C16-49A7-A2EA-22FFB0295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FBED588B-0990-4C61-8394-C49889326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10026F08-0A1E-4074-8708-782B5A9B0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2F80D7A4-8CD7-49D9-A7A9-ED32A7083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CEFBD4FF-4E21-423A-AF41-870931E9A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78E2CD11-43F9-4ACF-BBD4-5BD126FDC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A7F7ADDE-1898-4DEF-A4C8-D7D914EB9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27BF1293-E26D-4014-9EAD-240E7EB25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7A151ED6-C8F8-4AA3-9F95-D40C32B64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39698191-5839-4AEB-8F2F-D0962CF21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E92A9EC3-B983-47F1-80B2-910523DE6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F902175A-3AE2-46C0-A482-FEFFD13FF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67F6C199-D79B-4EE5-859B-C7105C33E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CCA859DA-618C-4984-9009-8DB9E0708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9965D26F-85A4-4B6E-8EFB-9F960CC91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754ABB6B-B96F-49D6-B2F9-22FF115AC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09BCE15A-58E6-46C1-9F84-E14C86E46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C29385E9-A47E-4761-A74B-B6D896F43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2D147CEE-4EEB-4CAF-A871-0E7B5B6B5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D2AD3177-5B1F-4AE5-B7D7-B5F2180FF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33318E18-B7FE-4FAB-8FC1-D637B41B1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6BD20E94-AF0F-496E-A155-0C8C15E99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4479C588-1CF7-48F2-AB0E-99DE2AE99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234DC44-42AA-4312-A457-32518F32F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7F013A2B-882C-499D-A761-45AA298C8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C5838F07-6388-4F7E-B414-F61071B01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8945062C-6F75-4282-9711-31DDD9231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25A87D1D-FF3E-40CA-8EA8-CCEFCDEEC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00468163-CEBC-4394-BA8B-D04F7D867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3329B53B-94C8-4A25-9510-21F0FCDBA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6B788A9B-FD77-4B7A-9A8E-2B53EC837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75B66EB-13A3-4131-8FD7-EB6E20AC9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86757174-950E-4D0D-A1FE-7B3F9EEFA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2C7C00C8-58E5-4B53-8E4D-97201E22D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F8DB96B2-F8A7-4163-9E05-F9AE4D63C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3B193F6B-4BAA-4CA5-81AA-AE98250EE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2A9C8A2A-7669-4002-B81A-AE5488F09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0476E35E-87A1-473D-BC10-9969367FB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94CA28A-1DAF-4A1A-B5CE-5062FEF99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BC1520F2-8172-495C-9695-BD5D2F11B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A0247A65-4E7C-4913-8846-8F8500AE6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EFB0CD39-37FC-4090-BF59-701C1758E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ADF959ED-E5D2-4DBC-AFE7-2D751CBEB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BA3DCF20-9B56-4A46-BD4E-FC7793D7C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275CD251-2647-496D-85DA-4015B0FC4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21CB5E8E-B55D-4BB6-B7CE-8AAE86CB7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28AC5F7B-1C85-4344-8FD5-6C0785B6C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01E06A5E-F691-46BD-B423-7A1AEEC55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F2A5F778-11E5-42F9-BC26-F7B4688D3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302049EF-3AE1-465D-843D-21AF772F2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BB353D91-4491-4AFF-80BC-93976FDC5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535B82C7-2E33-48E2-B898-F101BEEB4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A0FC0FEB-6A9F-4688-BEAC-F7C987FC6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18FC1CB3-3B0D-42E1-890F-128518828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0037F4D1-6574-46D9-AA43-74AA8B9DE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5E4D718C-0755-4430-863F-DAF2C77BB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10188450-01B6-4217-A221-712F885DC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44A63484-AFC1-4EB9-B6C9-D1A4552B5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BAF7646A-B726-4644-9794-A453056EC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07AE8705-E581-4273-AE86-943C647D6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6B83F339-9DCC-4A20-891D-FD8FA74AA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05869B7E-283D-4EE7-9930-374ECF6D7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2F83EB84-E0F6-4F9F-B79B-C8B25C1D0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0B620E20-3E17-4035-A03E-2DD42C29F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056479BA-0DC0-4C25-B3B0-908069D0E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833DD97C-C862-4814-8C1D-53D0C3DA9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19B04134-DBF8-4191-B781-62EE8ACAC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05BC7311-65B3-46A2-A9B8-ABC830382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FD137DE3-0323-4FAC-80D7-888B0B825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3C32B5A-6F8A-4DF4-956F-7A0633C47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A855728C-F7A8-4E02-8840-4903BDB1E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E8B120C9-153D-4CFC-84E3-F37EBBF02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FAB8861D-2D98-4812-B91D-0D7455BDD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BF5E79C5-E313-4236-9F1C-FC92B6F19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A043525A-879D-4076-B4B2-7272A46D6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FE7DF06B-F377-4FC1-B215-CA927179C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A9F0153F-3B1F-4AEB-A8F6-5C7E65F5D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32095E3D-3E24-4166-B07E-A041CEF21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35DD7650-75F3-4A9F-AA1F-D589DF204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AB223AD6-6A51-43E8-8263-88B2247B5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D938E248-E104-4D17-8367-B06123546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2214ABCC-D647-4771-96D0-D736660D3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3B62D669-6D66-4319-9ED8-07CE100A5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8C6CD58B-8C98-4E5B-BC6C-9C3112749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629E6032-E560-483E-9439-4ABB8E4CA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42161B98-3FBA-4598-A54C-566E7486A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4461F2B6-33EA-42B3-9D88-33A20C8E6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74555230-2D29-42A5-9519-1862E0F91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062CFE1F-819E-4D60-A5EA-00687F2AC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F6B92A91-42D1-42D8-9CBC-AEDA5B1DE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F6AD1ED7-EF3B-4298-A197-C83E56584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CEA7A511-C204-484A-ADED-26B825C0E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EC9D5A92-C6F4-44AF-99AC-1F43D3EF2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6870A140-B910-47F2-B370-BEDD1D818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865DB1E6-0E92-4BDD-B428-967570CE3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08E040E1-81A6-4BC8-922B-9249F24BB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ABDAD22A-16D9-4251-96CD-054E4EC4F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ABCA8327-0034-4D30-BE90-CCCE7EB7E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38281FE9-DF8C-4AFC-9EA6-E3FC5C2ED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31F3DB9C-44EE-4543-B84D-01F7DE408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F12F7C33-B7D6-4A45-B465-181466E42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41298ADA-5FE7-4726-96B2-79C3FF019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17FE12A0-DB53-4223-A868-F06D56712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440964D7-A78D-424E-B9A5-F574AFB4E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45A7C6B7-2344-4D04-98D8-A7BED103C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820EEB3D-0AA7-40B0-AD41-D775428A9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493249C8-8A72-4EF2-B2C0-E4260A470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2FD931D5-9FE2-4A48-90E2-58992D500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E20D360-D44B-4E8E-B155-5FD048BA3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AE91B134-E81D-4052-814E-02C90393B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ED3C0018-5B9E-4FFE-9D9D-3F969638B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BE284CC7-6706-47A9-BAA4-84A9574E5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368CAB81-0DCB-46BB-9A89-34AE52014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4FA894C8-84D5-4808-AF89-A4DA02F8A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856F25B5-0E51-428D-97DC-2B729AF92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B9607443-ACA7-438B-ACA5-8F405588E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43B9674A-B2E3-45A3-8CA0-CEA84637F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D45C278E-2FD5-49CF-815D-20227010B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B1724A2F-2A59-4AD0-AF7D-62F087319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DCCEE4AE-BD75-41D8-A5E1-B63DB7808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ABB78084-2F55-44B2-9C61-529CC817A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1A159FEB-D73E-48D3-AAC5-2702D5F21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BFE038C9-8730-4D8D-A4C5-8CCFDCC63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367B01C3-13FF-4C10-9B66-3FCB0905F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7C9D8748-4710-4C5F-A28C-EA20BD34D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372C1408-0C00-4662-9BC5-FD619E8A5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65F3E5D6-46A1-4F11-9DC8-A01CF77FD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BD782BB4-0467-43AF-B436-B686F5129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57A0F2C0-ABB8-48CB-B4EE-867573895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BA4F17FF-2F6C-45C7-A6B7-B27050A44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E0B261A8-3D1E-4902-B3BC-1B0412C5B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753FCC2D-E53A-47EF-806F-5535F5C4C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3C7F4D7-A35A-4916-BBCF-13AA4411A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E33077A2-E3EE-4F8C-8E24-157681B62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ED86F8D1-EC10-4FF1-851C-499FE6C85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9D8B728A-051B-484C-9E78-D5BB7D02C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C3D66C99-90B8-4212-B080-605D5CE1E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47277D1E-EE12-4CBD-8EF1-39A9D2C4A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FD9C8657-1976-42EB-87CC-3403AEAF6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C9842C96-E9DC-4284-9C79-6BA12BB40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B63D1B52-89E3-4023-A0CA-CF6B39309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34B4A824-66A7-4DA6-80A2-F717D385C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67D1250F-5939-43D1-8A1D-A81013EBA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244331E7-6344-4906-8482-D01D2780F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E2B96C5-58F2-4DB9-A08B-C2DBBC21B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F3318951-CA95-4E85-A120-97AA342F3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6AF4E05C-C5A3-4183-95FA-D60C124DE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A30CC3E2-F9C9-4C3A-83F9-789236AB4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492448A6-8C94-4F88-9039-042A6E050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0F4163BC-F1BC-43F7-B5A6-EACCCE912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86E11B7-42A0-466E-B6EA-8AC60DCEF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086226FA-4657-4AD8-834E-92ECC1373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470F8C33-57B4-475E-B170-24AA0F0E9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63509606-E579-4C6D-85E8-2A05C91E7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6B68E545-63C4-4BB0-9BE6-9CF4EA956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D3003A7-1122-466A-B1F7-4C00C50AD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2F224F9E-EF05-42A2-AF5B-D8588D4F1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0088A2A4-9A00-48BE-8D47-A7665AD12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FA65DEE4-D237-4517-862D-FA7418760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961527BE-43A7-461B-8991-E92D439F9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5B72EF20-D93E-49B5-9CFF-A169B14FD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FC587AE6-7E00-425A-95AC-AFD5D418E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F0771593-6208-4308-930B-6B5DBCB92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A0C035FA-114D-4162-A113-25A934339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7F202F1E-9534-42F5-80A6-4159E1815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6AD71D86-DDD0-4189-A418-969538646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31448C75-D7BC-4CB5-957F-43AFD7673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40AF3C89-D2D1-41AE-AB5B-9A2571A59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2524F2EE-41A8-4617-A8E5-791B2AF6A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16BFE1CA-60D1-467E-A57B-8EA1AA23A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723E0F3D-D7C3-4275-93BB-546180CE1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672F1843-92B4-497A-953E-42CC344F2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603742CB-E1B9-460B-9251-DA62AEB93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DAC81FB3-341E-427A-AFE9-588C33EB9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71F5A712-CF0C-4375-AD86-AF4CE9B4F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29F69561-C203-4C6F-ABFE-C6D091FB7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AAECF84C-1524-4B11-8D39-B34C7A5D4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D4696E0C-7685-40CF-A4A2-BD89FC5D7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2AE300AF-FE0C-4712-8FDA-10571CC5D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1D669507-F4B4-4BEA-AE23-A30AA2A43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F81FD952-F349-4D7B-B8A6-026815A3B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B33143BA-4325-41C8-A3CA-F2E84F03B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9FA1E916-1ED8-4D84-95A5-3DF686233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19557297-3D6C-4AF4-9B0A-A15E9BA84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5DA152E2-B033-4DD2-9698-9D02BAB67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E752357F-D8C0-4F90-A50C-0FF2653CD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DFF5126A-3076-4BBD-A22C-90CF4E93B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0DC609BA-A9C5-40F1-951B-396B7B494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21E0B9C0-5AD1-4098-A508-D5CC42DF4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AED7E39-271F-4F85-85D6-32186919C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B4E4E9A6-296A-45BF-8F50-88B05E5A0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4E9F553-8412-4BA3-A7F3-A501BB662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24AC5704-D6F5-476F-BF58-DEC23CC89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2DBB43BB-D4AD-4169-B4D1-A4EC2D51D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3C3A708D-0A98-4DA5-B5DA-13DA47DB95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21A040BA-8B7E-45DA-A37D-F05231DDA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9F386B07-CF94-4C72-80C8-81AE812A0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7032D02-B7F0-4F11-A0A8-BE158047B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9F68A6A9-DECA-4A4C-996E-A62ECD6D0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048C3930-6B1F-4B8A-8341-8774FA943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B1361E28-A236-4167-B88B-4A8B14F2B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38A1C5C9-0BF5-4AB6-A939-B48FDFB2D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FA2832AD-0A87-4A6D-9586-F75F67DD7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63FB226F-AD0B-4991-BBAD-73BDC0B18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FEFA9884-D028-4C8A-A194-6BD0A9380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7EEA6443-BAC2-44A3-9DE9-DD402EDCC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95658F85-1CB5-4CF3-8007-D732F8F35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6FEB56E8-E280-4154-B133-CDF310F3C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1A92149D-42DD-4303-8DCD-A7FEA5992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85A53BED-48C1-44C4-902B-EC89A0E9D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2562A2FB-74A1-451E-B7FA-BB1C2D1F4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86A2DFC-959F-491C-871B-B2E6E2DE2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186495D7-E6D4-4F0F-9BFF-F7F2AB6E0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DDA8949A-360E-4962-A1AC-696CFC39D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FD2E4496-2E4E-4C1E-95D0-809F6A065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E1B8A1BE-9643-425D-B693-B45108206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BFF5E526-B836-43B3-9113-324EDFAF9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09038F2B-8612-436C-BDFB-D659E2673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6D4BB99D-A7E1-485C-A8EE-7500344DF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0087D23E-77FF-485A-B34D-F2C07ED45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AAAB9895-21C1-4FFC-8DA1-E7D228DD6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BC073C86-629A-41CB-A59F-4428614DB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ABCA2878-FD70-47A4-8EC3-C7FE69859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5E02F045-442D-4B78-8485-001AE50B7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C279417-C7C8-498C-82F0-6B3DCD9EC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2CC60EE8-06B3-4986-A6F2-9F11B164A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8A24A602-55F7-4386-A5A1-B6D0F8687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769100F9-0590-4E27-B428-3FF25E064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46D4E414-3C8A-4A82-9EE2-63948DA8B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F4180D8C-7F80-47D6-96AD-0E6EA2687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E455C67C-E6BA-49A7-ABCD-3BC655750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5937EA1C-D252-4B21-9B8B-E07DC878B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1F6EB6E1-D875-4298-8376-0A85546D3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0BED9D33-A474-4D6A-9653-CCDAE32E0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E48EE917-FFEC-4B38-B24C-FB31DB30A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49F0184E-D3BC-4A85-BB2D-B3F8EF42D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A8153CE6-2142-4C9C-B1CE-87CD9559D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FE17BB40-BFF8-40B5-B7C5-6C5875C3E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FFD1CDF6-24FE-40BF-8264-797A31EEE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82C8C077-6D81-4D22-8305-4E2800403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D10C66EF-156D-4651-B21A-7E28777D4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EFD0D669-796A-4592-87E1-1490DAD8C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81EE7E90-B8D8-4215-8E9A-00BB49BE2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0D5CC6DC-FFC1-4B12-B57E-6829076C0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D755D17-CCF3-4C17-A585-831987C18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01C9FB4F-5DD3-4836-99BE-7826B0FF2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5B1234C9-2124-4105-AE31-D4B7BFFDD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8FE1000-2BA0-4414-9C42-33B1711F9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5F80EB0-E7F4-4A04-87D9-6F3C58E63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E2C36B1-785A-4427-9603-29ABF1AEC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353BFF51-20A4-4B16-9582-658A53B96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5F3DCDAA-B693-4C78-A870-E57B4A8FA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7A893ACE-3F3B-4882-A791-672899F95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761E3095-669C-46D6-98F7-B215DC704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BFEB9C14-8B7D-4B12-97AF-28C6532E8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F5A5454E-6832-41D5-AC30-500EA0807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F2DDBCC2-4AE2-4874-9ACA-415C675A3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3B7397CE-9257-4DE3-9122-258A49795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98FB08B3-8620-4F8E-94D1-87E582D0D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E550D978-B4DA-4E0B-89DC-6ED862048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3A35064E-06C0-48F5-B285-9D06E92F5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0DE136BF-DA45-465C-9EC9-DEA73B43F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F9D0249-E6AF-4A19-8881-A19B1C24C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8AEE5630-89A8-4C0D-91D0-360A14941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E6DEC89A-8A1F-492A-81A5-756E93B37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86D268E3-02DC-4E5B-B8E3-A4CECD8F3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25F966E-8485-46F8-B11A-CB1F486CB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DBC55CF4-084A-4F9E-8105-6D59AFDA2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D10B7266-4814-4EDC-9A68-4509FD8954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02C9D0FE-6F1A-4B80-B1D7-69050AF2C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1270EC07-91AD-43C6-BB2A-099D55A65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4C033FD5-3176-47EF-BFA3-AC06F406F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F265448F-568F-469E-9B78-1E12B640E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81751BD9-3F31-43E9-8638-7D5444FE7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15E69011-DF5F-402D-BA18-8E1B42DB7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7A335B38-7FF2-4208-A90C-11D789FEE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DF37C115-B792-47A9-8952-047E66008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7F1E07A1-96B9-4D68-8CF7-8D0B08833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71859D56-4D59-4EDA-9801-D15B933FC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1E349835-7A11-48F3-A54B-0994831AA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C6393A2B-C10A-4B55-8C97-146A4CE16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EE89E89E-C628-4909-9CD8-C691C58A6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A41CD4B5-1135-472C-9AC7-8D3639ED9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2B6F632D-3609-4F7C-A861-D6651FADB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35AF6429-38FD-4022-94F3-82BC18A38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645E93A7-FAE5-4E88-84B1-5E7299DD6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2751F26C-EF9D-4079-9ED6-B29878D35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95BAEB16-B652-4818-B131-7810E4031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E79CF5AC-772A-4CFC-92A1-75EA80A40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E5A644D4-F01F-4EBB-92C7-32BCEDCA4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DBB21124-07E6-4026-AD03-8C95CB169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C7385AB-69E8-444B-B921-0098F1E2C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62FE0104-D816-405D-A491-945B540DF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6CF924A7-FB13-4A3C-B68C-00AF620FA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1C4C25D0-C487-4E54-BBC1-1B4D28A4E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0C381682-650F-40B3-BFBF-337436B0B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819B288-987A-40F5-8016-3A650C2C5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B1A1C6C4-2983-4B1D-BF5A-99757447F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EF99891-8D96-46F8-BF3B-2C340EE76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1768E29F-05F5-4AEC-8D4F-6425AFA39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8441815D-D4B6-438D-ADED-866E3521F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18AAF464-953D-47B3-883D-F88A3701A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329705CA-BB8F-4028-AE89-E8386FC15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C169BFB5-C71F-44D4-B6A9-1AC232925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1E8071A4-DBDF-4064-9240-25F0EC5D8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44AA175-9739-410B-A35F-45C3263B3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5D117C82-8134-4166-83B7-1F9C11507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16736A87-8400-442B-81DB-CEFF2F241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5F8C695F-6ABE-45FC-9DE3-C18979349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AA1D0E96-0B1D-41C8-83B0-6041B934C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7445E6FE-7E2E-4622-850D-DA21E0EBA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32CB9428-6B02-4753-8290-E281DFB8E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68DC40A8-DAB9-4DBC-B69E-0939B8A5F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17C576B9-7300-4E0D-9E50-B9833BF7A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31277B8C-62F9-475D-9BCE-BBA7C977C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6A38D2C8-70D0-46CB-A9DC-26032839E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E072BF12-5BE2-4450-909F-F03549FC6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A80754CA-B1B4-4CAA-9EB5-69AE8849B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B3A0714A-D801-4CF0-BBC7-253D594AD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5312512D-E664-4193-A0AD-60B980A18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F4981319-E868-44EE-A9EC-702661281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C74E97E7-58DD-4557-BE67-3E065AE82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14F936F8-0FD4-403F-8CA7-F6CF61E32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07CFCA1D-BF7D-49DB-A198-664841D4F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74D8A690-1032-4414-9932-A6536C515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D020190E-A799-4333-8799-CB61D27CF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3CCE98F4-FC5A-448E-9F6D-74DA07612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23012492-2968-4311-9D60-7BDE54DC8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F5EF19F2-D5F3-4C14-A7E8-D67B4A6E3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A36C2D0A-6D1B-4006-8B6F-DA411EBC0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0633279-17B3-4535-A386-45626BE6A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5825BD63-4CEC-4678-9C6B-88D47D5B9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4BFB79A5-618A-43E3-9947-5E125FFC1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AEC9A82D-92B0-43F6-9EB5-934A57BB3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786AFE91-95C3-4656-8B71-D417514FF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CAE7F529-46C8-435A-9E7D-095EDCB41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35F2D556-F886-49D0-8832-9AFD5D62F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B7178253-D119-4471-8648-265B7D00F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416C007C-29A7-41D7-9A35-77B8734AE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D27D2391-6364-41BE-A751-C1C3B696A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A46268DB-553F-42E3-9A4A-D953F7537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6DEDBBDD-135A-458B-BAAF-1B88857B0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4B546221-A25D-41B7-97E8-8BF0B7E7B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31AC053F-0879-485F-8597-DA910B609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86D63FA4-FC37-4CEF-A71D-3F9CE32C6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499DF9D3-1832-48E5-89E5-676D6D577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0B5A1AAE-CD29-42A2-940B-F7801943C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DAF782B7-89A1-463A-9F23-FB2AF5173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ED00EDF7-7167-4EF3-9DFB-B7879364B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B0223D39-9643-45CB-8BDA-47CA4338C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7DF24792-C31B-4B24-AB88-9E321A572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EEA255C9-FFEA-4FFC-AB03-3A8DADFCE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B48BD4BA-8D6B-40BD-A4DF-A4953C666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C36AAEFD-59F6-4AA1-ABE0-741878BB5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C17D167F-FF9D-40D9-AE26-7C8D04B50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DC56A694-C69B-4363-955F-963AB7DE0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E5E641F6-5C35-455B-BA3B-F78D572EB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9F0A1AC7-44A5-4F92-9FE8-DBF97D2D5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0E5DDD5F-7FBD-414C-8209-3A13C646C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A3B54167-8F02-4F58-9877-28E6A957C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8CBE14F5-BA31-4F57-8926-9FB13EA14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BDF4EEBF-9C8E-4B39-8742-265DAF746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C3D650F8-84AB-4084-A9C0-C1F5EAEA7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4624EA3F-72E7-47A9-8A58-B3720B187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0B0D44AC-DBAA-40B7-984C-B6343C532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F8151DE9-093E-4D1C-8F09-AC1538FAC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3F147EB7-CD91-4166-A3A1-5CBEED1A2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FC3DA002-753A-4152-BC29-F709AFDCE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0FEF53C1-A832-4667-9DDC-E5A6DC04A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C0848630-E933-4903-A2F7-549BE558A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6A692999-876F-4DC1-BD68-CFA853CC3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5CBA4100-9A26-46DF-A708-F4971B703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6AE28A7C-D73D-44BD-AED5-27C770A66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14D7A89C-95EC-4F2F-9350-B444BBB19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7B2BF272-E155-48C7-863B-16BB4F1B8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BF512A5C-CDE3-4359-B613-41387B544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C3CA7FB2-4DCD-4EC9-9B72-67C439241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3865532E-A131-4A79-952A-7E674FBB2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7E36244A-2053-492C-99F5-49A8AD538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96586814-670C-42B7-86D1-B8E4CA445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A6FD6F4D-CE89-469B-B0F4-064E76456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F53A8BCC-A1A6-451D-BE56-F4079707D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DFA90467-75D1-416B-B832-79F91DE08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D63CAC7D-1878-4734-AD88-C288DB403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279D3155-7F92-4BBB-9013-C893EEF2B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E46051F-FB25-4C61-806C-145C158E3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808D45F8-B8A1-45B0-9C6D-049A6AAA9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92DCC02D-40EB-4EBA-8CE6-520690EC9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A1BC8066-287D-4FBB-BC43-A5AF89788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06E0FDD6-BC0E-4874-8D5D-C9D9554C1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0AD26754-8170-4E66-A25E-814CD2435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627ADF18-E4EC-45E8-A8B9-FBDDA1101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B1456845-D682-4988-8B30-023C84AF1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990429A-00F5-48E8-8161-D10F19BA1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EFE38E98-720B-4838-9AB4-3DD8E455B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7A408486-13C3-4BBF-AE90-3E699FCB2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5C43A382-34C9-463A-8F75-8FC0DE1FD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359016AC-8FDD-4263-A4D7-65232A8ED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2FF2CAD2-2576-4634-81B1-AC0D0CD50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6D4C545-FBF0-48F4-A94B-576F0036C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23E98105-37E4-4378-9493-F0ED5A571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AA09ADA3-CC31-49AB-AA77-29189EEC7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30606D05-29CB-43D9-A6E7-9269ACF87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CCBD3EFE-A864-42BB-8BAE-3EA34B24D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2FC07970-406E-442B-8904-5BAA20481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6E5225EA-1ACB-418F-86E2-F8A32E11F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DB20ED25-6711-4D95-81DF-F4CF29428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BEE69532-1E70-438D-B125-605C28676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6E454D1B-9AC6-47FB-9790-4010F4F11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FDD5283C-7ED2-4F94-B280-D26B4E9B7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26C402AC-5B1B-49F5-8134-11FCAE3B6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37AC8450-9573-4E0D-B5D9-393758400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8D621087-BD98-4BF5-B0E4-A3A79D185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A3EEA5E5-C3F8-45C1-85AB-A9EB349F6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BAF8CCE7-F6C0-40C1-9AD2-0D06D0EEE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9CF08361-D747-4D67-B7EC-E00156A8C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4FDBE8B6-B26D-4340-AAB4-41E03F783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5C89694F-93F3-4357-B227-008696B37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300DDD9C-924A-4C9A-B7D8-546D15EC1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39ABCC2E-59A2-4B76-90AD-49AE03895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A2AF8250-8A22-48AF-B35B-0AF3CF669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2AE9970C-66F0-47A5-9FB6-A1855DEB6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9D0C8F41-CC96-4A58-9F03-2BE5506A9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D5F77011-3CC5-4481-B850-45F867AA3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A0EBB5B5-AE6B-489B-B12A-033B8060C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2396ED30-0462-49FF-876E-EC53349FD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CC249F72-97D4-4EA6-B1D5-ADB7B7392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AB3E4DE0-773D-4FBB-B446-D8A769313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BA2BB3BD-EFCC-430A-A52B-C55FD0313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3C88C316-3003-4CF3-8C7F-16D59DB53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1E2DF1D5-4118-4C8B-84EA-D2CDB40D3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9934D459-6431-4391-A801-AF1AD10F0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4E1594D1-1EB6-472E-83D7-6EE58FBCF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33606449-2C6A-4EBF-A9AC-CF09204EF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FD8DF953-8142-405E-8BC4-C1755D534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A36955CE-10BF-45FB-8CDA-C08403F4E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04C8B59-4960-46E5-AEAD-8FFF50A75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536D2415-C680-4EFE-A696-36DB2217C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9F42E0BE-36EA-4C3C-A4BF-68D63C815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F36A2381-2E73-40AE-B672-EA6046199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795A8997-AD23-43CF-90D5-CC112502A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39B4FE53-EE7D-4901-B472-D19C61BC9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8A8AC4CD-454C-4DB3-9E93-F4F4B5544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2FE283AB-F592-4488-90BE-E2C7CD05C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2DC6FA02-4A0D-44C4-9D6D-95CD15CE4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C079B734-8592-4FD2-B785-81589A107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59559ABC-5525-4717-B97C-3FBCB423C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2244BD94-5A8B-4220-AF64-72F8078AB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42606E53-1307-4FB8-A561-BD5AC38AB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CF31E0EA-D1D1-4EDD-9378-BEA69492C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45906651-6908-4F63-B970-8735DB9B2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01993329-3557-488F-8939-66330BA60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AF92B382-C66B-4326-9406-2E02D93CB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2BF07E96-B10F-48C2-9C67-9CD67B027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49462FB-9EF4-4681-A7CD-D1C5B1705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B6664708-C10B-464E-93D4-96AA491EA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CEBDF070-C222-4850-9B3A-44F98CED3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1EE23912-24D5-44F3-A3DE-91CBE9A1E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4F424C83-CDCF-4E38-8452-BE9F1331A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9AD8A739-3C0D-4FA3-90EE-4748ADCEA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445B8FE6-D7A7-4C89-8654-AB1EF52AD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BB91639-3875-427D-B1B6-252339FE1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4D5AF0B5-1B38-4426-8862-160372170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5010DA00-DDD3-4740-B481-ABB4F4BB3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D9E388D4-8FE1-48D1-93B0-22A053343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95EFF584-CBD1-46BA-A90F-4CD195735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3A7A0B03-3EB4-4106-A52C-6AA3BFC50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8A5120E0-1BAE-4FBB-A618-0BCA41C69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5E02130E-0633-4024-8350-554AEE349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65D05EC4-2D36-4CF4-AA48-C99909185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8F643D0B-08E9-4B9B-94E9-087329A40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05FD795-155E-47C7-9C95-444709816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9E6A7B55-D79F-4970-B0F3-ED90591CC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0064AC52-27D4-4101-91AA-CB1CF61AB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4455B47D-626E-467F-8E4A-868196E8C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A530AA4D-3837-4A27-AC00-F5B6AE274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93EB6AD1-3403-4215-965B-ACB2B904A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D9BE3E44-500E-416E-8933-95E7D117D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98E05FE9-BEC9-4DB4-8454-CEDD1EB00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8778FA8-0BC8-4465-A0C8-F83C508A9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19D5F627-4044-4240-A8C0-94CA04A95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F22D2647-006A-4C0E-9795-96FF5C9AA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842D1B4-D2BD-498D-93AD-C46999BEE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25542B84-179F-4EFD-8A90-8614699E9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B461E08F-102E-4EF0-BC5F-CBF97ACF5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DA0CEB78-008B-49CB-A8CC-A63727F9F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89B0DE9-63BD-4C88-A8EE-A08ADEA74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51D22580-789C-4BAC-B524-A88435CB7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A2DAF8F8-8B5E-4815-B6F5-744667A5B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9AE7EA88-BF19-4828-8EA1-E40178A72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57CB2339-6512-41D2-915A-C85BEF695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FCB838F8-FE0E-4E36-9ACC-899E1D394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A3E4F490-2E18-4E36-929C-BCA5A0BE8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E2325F12-20B3-44B2-B25F-F3CA92D8A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BF38F299-C403-4DDB-8FD6-E083EFB69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3EE21E10-1584-4559-B019-FA817C2E7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282EE4FE-ADC3-4020-972D-05CDA0B83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DB909EC3-55EE-44A7-8A0A-3A856745B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6DBC4036-F49F-4E2A-B2F3-36A81305D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A86F2EC9-8A8E-4C72-A66D-C10F2629C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18926F26-692F-43C1-835F-6B7B57CFA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6E6DD4E-C688-4FE7-A562-37B53321D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7E785D31-70DE-42CC-9BFD-5754102D9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E9842AF5-AD36-44DE-8BA3-5BF029EFB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8C447AC1-556C-4CFD-B0CC-AA8384F51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AAB263E9-17E7-4878-9ABC-94F5424F5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67DF256-F307-4F6C-A6A4-481D04CBD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8D1DE4DD-E7B7-411C-8FBD-A146AB70F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D1EAA91E-901D-43F8-BE0F-3AC42FF79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F99994AB-24FC-4431-83B2-15A293419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9BEBBC43-0FBB-4E56-AE90-F895F065C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0DBECDAA-F2A6-4E11-A4E3-4BC145F1E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407F3026-3A84-4EA1-90B7-41A459E39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20FBD3FD-0A31-4D03-9027-0981AE312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3F2BADE2-FE34-4FC4-9750-95F9D4CED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4E17F948-EC3B-4DEC-B63C-FDB8FA05D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4F51800A-D7BD-412F-A386-AB49B599B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587575BD-B4DD-45CE-B861-8563B0D1E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738DBE1-5090-497E-AA36-4A4C1CF87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58A35D4F-4296-4970-99E5-5CB135252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19233BB0-2BB1-455D-B3AB-14A182F59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E4B32587-6624-4D03-A34D-BE12EBA5E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002A3E48-DC68-496C-B627-806F82DBF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8F83396F-13EB-428F-B320-8EA74DD2F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E30741B8-0D82-484D-8391-1CF4A760C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D98D1F45-33EB-4A65-AED5-B3992AB16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7BBCED09-C9B1-4413-9C58-8D64EC601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1C527899-2AE1-48AB-9B20-AB9185869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D69DECEB-602F-42B2-A5F8-6780B9ECA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withinLinear" id="15">
  <a:schemeClr val="accent2"/>
</cs:colorStyle>
</file>

<file path=ppt/charts/colors26.xml><?xml version="1.0" encoding="utf-8"?>
<cs:colorStyle xmlns:cs="http://schemas.microsoft.com/office/drawing/2012/chartStyle" xmlns:a="http://schemas.openxmlformats.org/drawingml/2006/main" meth="withinLinear" id="15">
  <a:schemeClr val="accent2"/>
</cs:colorStyle>
</file>

<file path=ppt/charts/colors27.xml><?xml version="1.0" encoding="utf-8"?>
<cs:colorStyle xmlns:cs="http://schemas.microsoft.com/office/drawing/2012/chartStyle" xmlns:a="http://schemas.openxmlformats.org/drawingml/2006/main" meth="withinLinear" id="15">
  <a:schemeClr val="accent2"/>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5">
  <a:schemeClr val="accent2"/>
</cs:colorStyle>
</file>

<file path=ppt/charts/colors31.xml><?xml version="1.0" encoding="utf-8"?>
<cs:colorStyle xmlns:cs="http://schemas.microsoft.com/office/drawing/2012/chartStyle" xmlns:a="http://schemas.openxmlformats.org/drawingml/2006/main" meth="withinLinear" id="15">
  <a:schemeClr val="accent2"/>
</cs:colorStyle>
</file>

<file path=ppt/charts/colors32.xml><?xml version="1.0" encoding="utf-8"?>
<cs:colorStyle xmlns:cs="http://schemas.microsoft.com/office/drawing/2012/chartStyle" xmlns:a="http://schemas.openxmlformats.org/drawingml/2006/main" meth="withinLinear" id="15">
  <a:schemeClr val="accent2"/>
</cs:colorStyle>
</file>

<file path=ppt/charts/colors33.xml><?xml version="1.0" encoding="utf-8"?>
<cs:colorStyle xmlns:cs="http://schemas.microsoft.com/office/drawing/2012/chartStyle" xmlns:a="http://schemas.openxmlformats.org/drawingml/2006/main" meth="withinLinear" id="15">
  <a:schemeClr val="accent2"/>
</cs:colorStyle>
</file>

<file path=ppt/charts/colors34.xml><?xml version="1.0" encoding="utf-8"?>
<cs:colorStyle xmlns:cs="http://schemas.microsoft.com/office/drawing/2012/chartStyle" xmlns:a="http://schemas.openxmlformats.org/drawingml/2006/main" meth="withinLinear" id="15">
  <a:schemeClr val="accent2"/>
</cs:colorStyle>
</file>

<file path=ppt/charts/colors35.xml><?xml version="1.0" encoding="utf-8"?>
<cs:colorStyle xmlns:cs="http://schemas.microsoft.com/office/drawing/2012/chartStyle" xmlns:a="http://schemas.openxmlformats.org/drawingml/2006/main" meth="withinLinear" id="15">
  <a:schemeClr val="accent2"/>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1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97.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98.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99.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0.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1.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2.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3.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05.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06.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07.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08.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1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1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1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26.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27.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28.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29.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0.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1.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2.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3.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4.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35.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36.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37.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38.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39.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0.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1.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2.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3.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45.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46.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47.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48.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49.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0.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1.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2.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3.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55.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56.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57.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58.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60.xml"/><Relationship Id="rId5" Type="http://schemas.openxmlformats.org/officeDocument/2006/relationships/chart" Target="../charts/chart159.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162.xml"/><Relationship Id="rId5" Type="http://schemas.openxmlformats.org/officeDocument/2006/relationships/chart" Target="../charts/chart161.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3.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65.xml"/><Relationship Id="rId5" Type="http://schemas.openxmlformats.org/officeDocument/2006/relationships/chart" Target="../charts/chart164.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72.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74.xml"/><Relationship Id="rId5" Type="http://schemas.openxmlformats.org/officeDocument/2006/relationships/chart" Target="../charts/chart173.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5.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6.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78.xml"/><Relationship Id="rId5" Type="http://schemas.openxmlformats.org/officeDocument/2006/relationships/chart" Target="../charts/chart177.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9.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81.xml"/><Relationship Id="rId5" Type="http://schemas.openxmlformats.org/officeDocument/2006/relationships/chart" Target="../charts/chart180.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83.xml"/><Relationship Id="rId5" Type="http://schemas.openxmlformats.org/officeDocument/2006/relationships/chart" Target="../charts/chart182.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6.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7.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8.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9.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90.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91.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193.xml"/><Relationship Id="rId5" Type="http://schemas.openxmlformats.org/officeDocument/2006/relationships/chart" Target="../charts/chart192.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195.xml"/><Relationship Id="rId5" Type="http://schemas.openxmlformats.org/officeDocument/2006/relationships/chart" Target="../charts/chart194.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199.xml"/><Relationship Id="rId5" Type="http://schemas.openxmlformats.org/officeDocument/2006/relationships/chart" Target="../charts/chart19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201.xml"/><Relationship Id="rId5" Type="http://schemas.openxmlformats.org/officeDocument/2006/relationships/chart" Target="../charts/chart20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207.xml"/><Relationship Id="rId5" Type="http://schemas.openxmlformats.org/officeDocument/2006/relationships/chart" Target="../charts/chart206.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211.xml"/><Relationship Id="rId5" Type="http://schemas.openxmlformats.org/officeDocument/2006/relationships/chart" Target="../charts/chart210.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213.xml"/><Relationship Id="rId5" Type="http://schemas.openxmlformats.org/officeDocument/2006/relationships/chart" Target="../charts/chart212.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217.xml"/><Relationship Id="rId5" Type="http://schemas.openxmlformats.org/officeDocument/2006/relationships/chart" Target="../charts/chart216.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223.xml"/><Relationship Id="rId5" Type="http://schemas.openxmlformats.org/officeDocument/2006/relationships/chart" Target="../charts/chart222.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225.xml"/><Relationship Id="rId5" Type="http://schemas.openxmlformats.org/officeDocument/2006/relationships/chart" Target="../charts/chart224.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229.xml"/><Relationship Id="rId5" Type="http://schemas.openxmlformats.org/officeDocument/2006/relationships/chart" Target="../charts/chart228.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231.xml"/><Relationship Id="rId5" Type="http://schemas.openxmlformats.org/officeDocument/2006/relationships/chart" Target="../charts/chart230.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235.xml"/><Relationship Id="rId5" Type="http://schemas.openxmlformats.org/officeDocument/2006/relationships/chart" Target="../charts/chart234.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36.xml"/><Relationship Id="rId4" Type="http://schemas.openxmlformats.org/officeDocument/2006/relationships/image" Target="../media/image31.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37.xml"/><Relationship Id="rId4" Type="http://schemas.openxmlformats.org/officeDocument/2006/relationships/image" Target="../media/image31.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31.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241.xml"/><Relationship Id="rId5" Type="http://schemas.openxmlformats.org/officeDocument/2006/relationships/chart" Target="../charts/chart240.xml"/><Relationship Id="rId4" Type="http://schemas.openxmlformats.org/officeDocument/2006/relationships/image" Target="../media/image31.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42.xml"/><Relationship Id="rId4" Type="http://schemas.openxmlformats.org/officeDocument/2006/relationships/image" Target="../media/image31.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43.xml"/><Relationship Id="rId4" Type="http://schemas.openxmlformats.org/officeDocument/2006/relationships/image" Target="../media/image31.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31.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247.xml"/><Relationship Id="rId5" Type="http://schemas.openxmlformats.org/officeDocument/2006/relationships/chart" Target="../charts/chart246.xml"/><Relationship Id="rId4" Type="http://schemas.openxmlformats.org/officeDocument/2006/relationships/image" Target="../media/image31.emf"/></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2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chart" Target="../charts/chart251.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2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chart" Target="../charts/chart253.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252.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76.xml"/><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25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25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25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260.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259.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80.xml"/><Relationship Id="rId7" Type="http://schemas.openxmlformats.org/officeDocument/2006/relationships/chart" Target="../charts/chart262.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261.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263.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26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chart" Target="../charts/chart266.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265.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26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chart" Target="../charts/chart269.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chart" Target="../charts/chart26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chart" Target="../charts/chart271.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chart" Target="../charts/chart27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1.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chart" Target="../charts/chart272.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27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275.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27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27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27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chart" Target="../charts/chart280.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chart" Target="../charts/chart284.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96.xml"/><Relationship Id="rId7" Type="http://schemas.openxmlformats.org/officeDocument/2006/relationships/chart" Target="../charts/chart286.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2.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chart" Target="../charts/chart290.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99.xml"/><Relationship Id="rId7" Type="http://schemas.openxmlformats.org/officeDocument/2006/relationships/chart" Target="../charts/chart292.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chart" Target="../charts/chart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100.xml"/><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chart" Target="../charts/chart296.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chart" Target="../charts/chart2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102.xml"/><Relationship Id="rId7" Type="http://schemas.openxmlformats.org/officeDocument/2006/relationships/chart" Target="../charts/chart298.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103.xml"/><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04.xml"/><Relationship Id="rId7" Type="http://schemas.openxmlformats.org/officeDocument/2006/relationships/chart" Target="../charts/chart302.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3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3.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3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3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3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chart" Target="../charts/chart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309.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310.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4.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311.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312.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313.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314.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315.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316.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317.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318.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319.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3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5.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3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3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7.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0.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1.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2.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4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4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4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46.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47.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8.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9.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50.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51.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52.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5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5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0803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3146745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29886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181802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109732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7385303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880908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8268102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3232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325030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960788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91516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882118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816600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41775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989308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91865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7418960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09737112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19136465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00850873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10351444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64973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0717977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59239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6478899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4011828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1765907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998390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7889164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3213051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669152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0740078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790703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37434000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8865541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60229871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29163471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69125998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88576650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78506342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90794263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5721684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2922232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50426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17253459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5438426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9983819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39107521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5181540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3800416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96724296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3305233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46917106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28365447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9420851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90743797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69160860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63093888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1992155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3008649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77842556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83389519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08579007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279849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01346530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084224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88331736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48344949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5040101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87356946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830869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8387576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9136989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956396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532627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3383349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14581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78652292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4656675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528163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3055310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41374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571168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972800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1411448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4805661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0219060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343698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1152696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8425704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465611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263341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875463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1726538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237017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9064602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3810719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5328486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85330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20186435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4998338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6097160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8938619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17278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512738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6380255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7510508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7913834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6163377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42785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37240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112663097"/>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136222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2542522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7393631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1626744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572391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5013333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2331232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9555449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3839838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37590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1421065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9021098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1136081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662627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632374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0556014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1141388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8936601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0272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7161271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5819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4913365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3882558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2340062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56318036"/>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579153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0507251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7762742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763524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0000209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537978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75603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144445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0239082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7123744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3248980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7036088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3111339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4709095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81826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597494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11249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242010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938302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965927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084542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696858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271172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079145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064869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215476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9661004"/>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65234038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9892970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831550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18630615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28394693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23283918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85847187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912847226"/>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88270900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83476395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42892932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26358127"/>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8568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0705005"/>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6581912"/>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200580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791533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7835811"/>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836345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16228272"/>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909164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1474064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274969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2295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548676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32128782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953602500"/>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73753999"/>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0505273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784354072"/>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8/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3095553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656060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2839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17327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876614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07445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59265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732528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073282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157699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890993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605072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922886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663341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4499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649402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103882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307622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6899771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869638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826601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283594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7335127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5839229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800852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52216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1572750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1530951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0262832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3889005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1616693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7620070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00954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1723979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837182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6855058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369055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0682642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9740931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9254786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7610153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4763795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0054363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6075480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919518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775037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117897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6812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2546568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4062921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373967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481073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2936059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42468093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5905266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7228823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0860228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0751949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69543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01314728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66247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7635181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825686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758121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0602707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707080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13230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72340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58888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251144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06838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071397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2044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684721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843576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59629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611383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641290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684889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3620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8</TotalTime>
  <Words>40778</Words>
  <Application>Microsoft Office PowerPoint</Application>
  <PresentationFormat>On-screen Show (16:9)</PresentationFormat>
  <Paragraphs>14325</Paragraphs>
  <Slides>275</Slides>
  <Notes>12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75</vt:i4>
      </vt:variant>
    </vt:vector>
  </HeadingPairs>
  <TitlesOfParts>
    <vt:vector size="288"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59</cp:revision>
  <dcterms:created xsi:type="dcterms:W3CDTF">2024-07-08T12:46:55Z</dcterms:created>
  <dcterms:modified xsi:type="dcterms:W3CDTF">2025-08-18T11:2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